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26"/>
  </p:notesMasterIdLst>
  <p:handoutMasterIdLst>
    <p:handoutMasterId r:id="rId27"/>
  </p:handoutMasterIdLst>
  <p:sldIdLst>
    <p:sldId id="2147470659" r:id="rId7"/>
    <p:sldId id="2147470574" r:id="rId8"/>
    <p:sldId id="2147471584" r:id="rId9"/>
    <p:sldId id="2147470660" r:id="rId10"/>
    <p:sldId id="2147471583" r:id="rId11"/>
    <p:sldId id="2147470584" r:id="rId12"/>
    <p:sldId id="2147471586" r:id="rId13"/>
    <p:sldId id="2147470661" r:id="rId14"/>
    <p:sldId id="2147470652" r:id="rId15"/>
    <p:sldId id="2147470587" r:id="rId16"/>
    <p:sldId id="2147470653" r:id="rId17"/>
    <p:sldId id="2147470642" r:id="rId18"/>
    <p:sldId id="2147470677" r:id="rId19"/>
    <p:sldId id="2147471601" r:id="rId20"/>
    <p:sldId id="2147470711" r:id="rId21"/>
    <p:sldId id="2147470622" r:id="rId22"/>
    <p:sldId id="2147471588" r:id="rId23"/>
    <p:sldId id="2147470623" r:id="rId24"/>
    <p:sldId id="2147470624"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lan a Java application migration to Azure Spring Apps" id="{AEFCFB42-19BC-4D89-A2AB-761D612D3BDE}">
          <p14:sldIdLst>
            <p14:sldId id="2147470659"/>
          </p14:sldIdLst>
        </p14:section>
        <p14:section name="Setup Development Environment" id="{D057D6DF-3B78-434B-9EFA-1F6713519490}">
          <p14:sldIdLst>
            <p14:sldId id="2147470574"/>
            <p14:sldId id="2147471584"/>
            <p14:sldId id="2147470660"/>
            <p14:sldId id="2147471583"/>
          </p14:sldIdLst>
        </p14:section>
        <p14:section name="Enable monitoring and end-to-end tracing" id="{F5F183B8-C5D8-431A-9A1F-028A2933A24D}">
          <p14:sldIdLst>
            <p14:sldId id="2147470584"/>
            <p14:sldId id="2147471586"/>
            <p14:sldId id="2147470661"/>
            <p14:sldId id="2147470652"/>
            <p14:sldId id="2147470587"/>
            <p14:sldId id="2147470653"/>
            <p14:sldId id="2147470642"/>
          </p14:sldIdLst>
        </p14:section>
        <p14:section name="Sample" id="{411A3624-DEDE-4395-8B6C-48F807C2F76B}">
          <p14:sldIdLst>
            <p14:sldId id="2147470677"/>
            <p14:sldId id="2147471601"/>
            <p14:sldId id="2147470711"/>
            <p14:sldId id="2147470622"/>
            <p14:sldId id="2147471588"/>
            <p14:sldId id="2147470623"/>
            <p14:sldId id="214747062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A2CF18-1E4F-D24B-9638-26BDEC581EC6}" v="21" dt="2023-10-20T04:08:06.585"/>
    <p1510:client id="{757D597E-ACF8-45D4-AB27-09E83B3DD506}" v="390" dt="2023-10-20T02:58:30.5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046"/>
    <p:restoredTop sz="94684"/>
  </p:normalViewPr>
  <p:slideViewPr>
    <p:cSldViewPr snapToGrid="0">
      <p:cViewPr varScale="1">
        <p:scale>
          <a:sx n="138" d="100"/>
          <a:sy n="138" d="100"/>
        </p:scale>
        <p:origin x="176" y="4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n Stegink" userId="bba285e7-c67a-4500-889f-9795828fa283" providerId="ADAL" clId="{58A2CF18-1E4F-D24B-9638-26BDEC581EC6}"/>
    <pc:docChg chg="undo custSel delSld modSld delSection modSection">
      <pc:chgData name="Ben Stegink" userId="bba285e7-c67a-4500-889f-9795828fa283" providerId="ADAL" clId="{58A2CF18-1E4F-D24B-9638-26BDEC581EC6}" dt="2023-10-20T04:08:40.067" v="1604" actId="2696"/>
      <pc:docMkLst>
        <pc:docMk/>
      </pc:docMkLst>
      <pc:sldChg chg="del">
        <pc:chgData name="Ben Stegink" userId="bba285e7-c67a-4500-889f-9795828fa283" providerId="ADAL" clId="{58A2CF18-1E4F-D24B-9638-26BDEC581EC6}" dt="2023-10-20T03:06:07.513" v="30" actId="2696"/>
        <pc:sldMkLst>
          <pc:docMk/>
          <pc:sldMk cId="1908911003" sldId="2147470569"/>
        </pc:sldMkLst>
      </pc:sldChg>
      <pc:sldChg chg="addSp delSp modSp mod">
        <pc:chgData name="Ben Stegink" userId="bba285e7-c67a-4500-889f-9795828fa283" providerId="ADAL" clId="{58A2CF18-1E4F-D24B-9638-26BDEC581EC6}" dt="2023-10-20T03:00:04.859" v="18" actId="20577"/>
        <pc:sldMkLst>
          <pc:docMk/>
          <pc:sldMk cId="2259851463" sldId="2147470574"/>
        </pc:sldMkLst>
        <pc:spChg chg="add del mod">
          <ac:chgData name="Ben Stegink" userId="bba285e7-c67a-4500-889f-9795828fa283" providerId="ADAL" clId="{58A2CF18-1E4F-D24B-9638-26BDEC581EC6}" dt="2023-10-20T03:00:04.859" v="18" actId="20577"/>
          <ac:spMkLst>
            <pc:docMk/>
            <pc:sldMk cId="2259851463" sldId="2147470574"/>
            <ac:spMk id="10" creationId="{1E1C744A-EF62-5B6F-5E8D-AEEF3FC77279}"/>
          </ac:spMkLst>
        </pc:spChg>
      </pc:sldChg>
      <pc:sldChg chg="del">
        <pc:chgData name="Ben Stegink" userId="bba285e7-c67a-4500-889f-9795828fa283" providerId="ADAL" clId="{58A2CF18-1E4F-D24B-9638-26BDEC581EC6}" dt="2023-10-20T02:59:35.752" v="6" actId="2696"/>
        <pc:sldMkLst>
          <pc:docMk/>
          <pc:sldMk cId="3106116393" sldId="2147470578"/>
        </pc:sldMkLst>
      </pc:sldChg>
      <pc:sldChg chg="addSp modSp mod">
        <pc:chgData name="Ben Stegink" userId="bba285e7-c67a-4500-889f-9795828fa283" providerId="ADAL" clId="{58A2CF18-1E4F-D24B-9638-26BDEC581EC6}" dt="2023-10-20T03:01:42.279" v="24"/>
        <pc:sldMkLst>
          <pc:docMk/>
          <pc:sldMk cId="601867877" sldId="2147470584"/>
        </pc:sldMkLst>
        <pc:spChg chg="add mod">
          <ac:chgData name="Ben Stegink" userId="bba285e7-c67a-4500-889f-9795828fa283" providerId="ADAL" clId="{58A2CF18-1E4F-D24B-9638-26BDEC581EC6}" dt="2023-10-20T03:00:27.514" v="21" actId="20577"/>
          <ac:spMkLst>
            <pc:docMk/>
            <pc:sldMk cId="601867877" sldId="2147470584"/>
            <ac:spMk id="2" creationId="{C64DEE11-5EF4-F116-9004-D71B0197FB63}"/>
          </ac:spMkLst>
        </pc:spChg>
        <pc:spChg chg="mod">
          <ac:chgData name="Ben Stegink" userId="bba285e7-c67a-4500-889f-9795828fa283" providerId="ADAL" clId="{58A2CF18-1E4F-D24B-9638-26BDEC581EC6}" dt="2023-10-20T03:01:42.279" v="24"/>
          <ac:spMkLst>
            <pc:docMk/>
            <pc:sldMk cId="601867877" sldId="2147470584"/>
            <ac:spMk id="6" creationId="{EBEFD216-405C-6156-3033-474069C6F437}"/>
          </ac:spMkLst>
        </pc:spChg>
      </pc:sldChg>
      <pc:sldChg chg="addSp delSp modSp mod">
        <pc:chgData name="Ben Stegink" userId="bba285e7-c67a-4500-889f-9795828fa283" providerId="ADAL" clId="{58A2CF18-1E4F-D24B-9638-26BDEC581EC6}" dt="2023-10-20T03:27:03.515" v="962" actId="313"/>
        <pc:sldMkLst>
          <pc:docMk/>
          <pc:sldMk cId="4149760317" sldId="2147470587"/>
        </pc:sldMkLst>
        <pc:spChg chg="mod">
          <ac:chgData name="Ben Stegink" userId="bba285e7-c67a-4500-889f-9795828fa283" providerId="ADAL" clId="{58A2CF18-1E4F-D24B-9638-26BDEC581EC6}" dt="2023-10-20T03:27:03.515" v="962" actId="313"/>
          <ac:spMkLst>
            <pc:docMk/>
            <pc:sldMk cId="4149760317" sldId="2147470587"/>
            <ac:spMk id="4" creationId="{7507F1B0-1015-70E2-FD21-E70BA1BC7356}"/>
          </ac:spMkLst>
        </pc:spChg>
        <pc:spChg chg="mod">
          <ac:chgData name="Ben Stegink" userId="bba285e7-c67a-4500-889f-9795828fa283" providerId="ADAL" clId="{58A2CF18-1E4F-D24B-9638-26BDEC581EC6}" dt="2023-10-20T03:25:25.153" v="649" actId="20577"/>
          <ac:spMkLst>
            <pc:docMk/>
            <pc:sldMk cId="4149760317" sldId="2147470587"/>
            <ac:spMk id="12" creationId="{C51890E7-B0A6-AF21-7B2A-4E57DB96CEC1}"/>
          </ac:spMkLst>
        </pc:spChg>
        <pc:spChg chg="mod">
          <ac:chgData name="Ben Stegink" userId="bba285e7-c67a-4500-889f-9795828fa283" providerId="ADAL" clId="{58A2CF18-1E4F-D24B-9638-26BDEC581EC6}" dt="2023-10-20T03:26:59.158" v="961" actId="20577"/>
          <ac:spMkLst>
            <pc:docMk/>
            <pc:sldMk cId="4149760317" sldId="2147470587"/>
            <ac:spMk id="13" creationId="{CE8DFB31-93F7-F070-9CB4-AD3A6BEAA67E}"/>
          </ac:spMkLst>
        </pc:spChg>
        <pc:spChg chg="add del">
          <ac:chgData name="Ben Stegink" userId="bba285e7-c67a-4500-889f-9795828fa283" providerId="ADAL" clId="{58A2CF18-1E4F-D24B-9638-26BDEC581EC6}" dt="2023-10-20T03:25:29.704" v="651" actId="478"/>
          <ac:spMkLst>
            <pc:docMk/>
            <pc:sldMk cId="4149760317" sldId="2147470587"/>
            <ac:spMk id="21" creationId="{7B3CAEF9-B3E7-9AE1-B8B7-B10DE55EF45F}"/>
          </ac:spMkLst>
        </pc:spChg>
        <pc:grpChg chg="del">
          <ac:chgData name="Ben Stegink" userId="bba285e7-c67a-4500-889f-9795828fa283" providerId="ADAL" clId="{58A2CF18-1E4F-D24B-9638-26BDEC581EC6}" dt="2023-10-20T03:25:32.882" v="652" actId="478"/>
          <ac:grpSpMkLst>
            <pc:docMk/>
            <pc:sldMk cId="4149760317" sldId="2147470587"/>
            <ac:grpSpMk id="2" creationId="{9DF2D11E-29FB-A588-3BA4-482E6F0BC0B7}"/>
          </ac:grpSpMkLst>
        </pc:grpChg>
        <pc:picChg chg="add mod">
          <ac:chgData name="Ben Stegink" userId="bba285e7-c67a-4500-889f-9795828fa283" providerId="ADAL" clId="{58A2CF18-1E4F-D24B-9638-26BDEC581EC6}" dt="2023-10-20T03:25:45.606" v="656" actId="1076"/>
          <ac:picMkLst>
            <pc:docMk/>
            <pc:sldMk cId="4149760317" sldId="2147470587"/>
            <ac:picMk id="3" creationId="{857A2E73-F358-BACE-3AF3-D284BC097814}"/>
          </ac:picMkLst>
        </pc:picChg>
        <pc:cxnChg chg="mod">
          <ac:chgData name="Ben Stegink" userId="bba285e7-c67a-4500-889f-9795828fa283" providerId="ADAL" clId="{58A2CF18-1E4F-D24B-9638-26BDEC581EC6}" dt="2023-10-20T03:25:32.882" v="652" actId="478"/>
          <ac:cxnSpMkLst>
            <pc:docMk/>
            <pc:sldMk cId="4149760317" sldId="2147470587"/>
            <ac:cxnSpMk id="56" creationId="{EE89B487-4397-E17C-7A32-8AA71703CE2A}"/>
          </ac:cxnSpMkLst>
        </pc:cxnChg>
        <pc:cxnChg chg="mod">
          <ac:chgData name="Ben Stegink" userId="bba285e7-c67a-4500-889f-9795828fa283" providerId="ADAL" clId="{58A2CF18-1E4F-D24B-9638-26BDEC581EC6}" dt="2023-10-20T03:25:32.882" v="652" actId="478"/>
          <ac:cxnSpMkLst>
            <pc:docMk/>
            <pc:sldMk cId="4149760317" sldId="2147470587"/>
            <ac:cxnSpMk id="60" creationId="{0459019D-DB06-1216-09B9-F9C614C3C8F0}"/>
          </ac:cxnSpMkLst>
        </pc:cxnChg>
        <pc:cxnChg chg="mod">
          <ac:chgData name="Ben Stegink" userId="bba285e7-c67a-4500-889f-9795828fa283" providerId="ADAL" clId="{58A2CF18-1E4F-D24B-9638-26BDEC581EC6}" dt="2023-10-20T03:25:32.882" v="652" actId="478"/>
          <ac:cxnSpMkLst>
            <pc:docMk/>
            <pc:sldMk cId="4149760317" sldId="2147470587"/>
            <ac:cxnSpMk id="64" creationId="{B7705215-BFA0-F73A-D66F-42B667D647FB}"/>
          </ac:cxnSpMkLst>
        </pc:cxnChg>
        <pc:cxnChg chg="mod">
          <ac:chgData name="Ben Stegink" userId="bba285e7-c67a-4500-889f-9795828fa283" providerId="ADAL" clId="{58A2CF18-1E4F-D24B-9638-26BDEC581EC6}" dt="2023-10-20T03:25:32.882" v="652" actId="478"/>
          <ac:cxnSpMkLst>
            <pc:docMk/>
            <pc:sldMk cId="4149760317" sldId="2147470587"/>
            <ac:cxnSpMk id="67" creationId="{05F794BD-E5F9-D4B8-E29D-8716EC0678A5}"/>
          </ac:cxnSpMkLst>
        </pc:cxnChg>
        <pc:cxnChg chg="mod">
          <ac:chgData name="Ben Stegink" userId="bba285e7-c67a-4500-889f-9795828fa283" providerId="ADAL" clId="{58A2CF18-1E4F-D24B-9638-26BDEC581EC6}" dt="2023-10-20T03:25:32.882" v="652" actId="478"/>
          <ac:cxnSpMkLst>
            <pc:docMk/>
            <pc:sldMk cId="4149760317" sldId="2147470587"/>
            <ac:cxnSpMk id="70" creationId="{C1B2F63B-BA77-C7E1-00C1-6A6726D4184B}"/>
          </ac:cxnSpMkLst>
        </pc:cxnChg>
        <pc:cxnChg chg="mod">
          <ac:chgData name="Ben Stegink" userId="bba285e7-c67a-4500-889f-9795828fa283" providerId="ADAL" clId="{58A2CF18-1E4F-D24B-9638-26BDEC581EC6}" dt="2023-10-20T03:25:32.882" v="652" actId="478"/>
          <ac:cxnSpMkLst>
            <pc:docMk/>
            <pc:sldMk cId="4149760317" sldId="2147470587"/>
            <ac:cxnSpMk id="74" creationId="{DBE85CC8-9166-7F74-DCCD-B62956DB2E8F}"/>
          </ac:cxnSpMkLst>
        </pc:cxnChg>
        <pc:cxnChg chg="mod">
          <ac:chgData name="Ben Stegink" userId="bba285e7-c67a-4500-889f-9795828fa283" providerId="ADAL" clId="{58A2CF18-1E4F-D24B-9638-26BDEC581EC6}" dt="2023-10-20T03:25:32.882" v="652" actId="478"/>
          <ac:cxnSpMkLst>
            <pc:docMk/>
            <pc:sldMk cId="4149760317" sldId="2147470587"/>
            <ac:cxnSpMk id="78" creationId="{FC3B7570-43CD-573E-F014-0EF42B9E2B5A}"/>
          </ac:cxnSpMkLst>
        </pc:cxnChg>
        <pc:cxnChg chg="mod">
          <ac:chgData name="Ben Stegink" userId="bba285e7-c67a-4500-889f-9795828fa283" providerId="ADAL" clId="{58A2CF18-1E4F-D24B-9638-26BDEC581EC6}" dt="2023-10-20T03:25:32.882" v="652" actId="478"/>
          <ac:cxnSpMkLst>
            <pc:docMk/>
            <pc:sldMk cId="4149760317" sldId="2147470587"/>
            <ac:cxnSpMk id="87" creationId="{C7555641-2ACD-00A7-2AE7-2C56F419CB78}"/>
          </ac:cxnSpMkLst>
        </pc:cxnChg>
        <pc:cxnChg chg="mod">
          <ac:chgData name="Ben Stegink" userId="bba285e7-c67a-4500-889f-9795828fa283" providerId="ADAL" clId="{58A2CF18-1E4F-D24B-9638-26BDEC581EC6}" dt="2023-10-20T03:25:32.882" v="652" actId="478"/>
          <ac:cxnSpMkLst>
            <pc:docMk/>
            <pc:sldMk cId="4149760317" sldId="2147470587"/>
            <ac:cxnSpMk id="95" creationId="{CED43AA7-BC03-BDEB-1E02-72848C8A0458}"/>
          </ac:cxnSpMkLst>
        </pc:cxnChg>
        <pc:cxnChg chg="mod">
          <ac:chgData name="Ben Stegink" userId="bba285e7-c67a-4500-889f-9795828fa283" providerId="ADAL" clId="{58A2CF18-1E4F-D24B-9638-26BDEC581EC6}" dt="2023-10-20T03:25:32.882" v="652" actId="478"/>
          <ac:cxnSpMkLst>
            <pc:docMk/>
            <pc:sldMk cId="4149760317" sldId="2147470587"/>
            <ac:cxnSpMk id="99" creationId="{CF5A2386-6A34-360D-0150-EE1DB42DE8A1}"/>
          </ac:cxnSpMkLst>
        </pc:cxnChg>
        <pc:cxnChg chg="mod">
          <ac:chgData name="Ben Stegink" userId="bba285e7-c67a-4500-889f-9795828fa283" providerId="ADAL" clId="{58A2CF18-1E4F-D24B-9638-26BDEC581EC6}" dt="2023-10-20T03:25:32.882" v="652" actId="478"/>
          <ac:cxnSpMkLst>
            <pc:docMk/>
            <pc:sldMk cId="4149760317" sldId="2147470587"/>
            <ac:cxnSpMk id="102" creationId="{B37E843F-10A3-853E-411C-3FCA9A40A39F}"/>
          </ac:cxnSpMkLst>
        </pc:cxnChg>
        <pc:cxnChg chg="mod">
          <ac:chgData name="Ben Stegink" userId="bba285e7-c67a-4500-889f-9795828fa283" providerId="ADAL" clId="{58A2CF18-1E4F-D24B-9638-26BDEC581EC6}" dt="2023-10-20T03:25:32.882" v="652" actId="478"/>
          <ac:cxnSpMkLst>
            <pc:docMk/>
            <pc:sldMk cId="4149760317" sldId="2147470587"/>
            <ac:cxnSpMk id="109" creationId="{C1698F6E-77A5-1B5A-ABB4-69207DA02498}"/>
          </ac:cxnSpMkLst>
        </pc:cxnChg>
      </pc:sldChg>
      <pc:sldChg chg="del">
        <pc:chgData name="Ben Stegink" userId="bba285e7-c67a-4500-889f-9795828fa283" providerId="ADAL" clId="{58A2CF18-1E4F-D24B-9638-26BDEC581EC6}" dt="2023-10-20T03:20:18.630" v="383" actId="2696"/>
        <pc:sldMkLst>
          <pc:docMk/>
          <pc:sldMk cId="2578707456" sldId="2147470594"/>
        </pc:sldMkLst>
      </pc:sldChg>
      <pc:sldChg chg="del">
        <pc:chgData name="Ben Stegink" userId="bba285e7-c67a-4500-889f-9795828fa283" providerId="ADAL" clId="{58A2CF18-1E4F-D24B-9638-26BDEC581EC6}" dt="2023-10-20T03:20:18.630" v="383" actId="2696"/>
        <pc:sldMkLst>
          <pc:docMk/>
          <pc:sldMk cId="2028121556" sldId="2147470596"/>
        </pc:sldMkLst>
      </pc:sldChg>
      <pc:sldChg chg="del">
        <pc:chgData name="Ben Stegink" userId="bba285e7-c67a-4500-889f-9795828fa283" providerId="ADAL" clId="{58A2CF18-1E4F-D24B-9638-26BDEC581EC6}" dt="2023-10-20T03:20:18.630" v="383" actId="2696"/>
        <pc:sldMkLst>
          <pc:docMk/>
          <pc:sldMk cId="1887028567" sldId="2147470597"/>
        </pc:sldMkLst>
      </pc:sldChg>
      <pc:sldChg chg="del">
        <pc:chgData name="Ben Stegink" userId="bba285e7-c67a-4500-889f-9795828fa283" providerId="ADAL" clId="{58A2CF18-1E4F-D24B-9638-26BDEC581EC6}" dt="2023-10-20T03:20:18.630" v="383" actId="2696"/>
        <pc:sldMkLst>
          <pc:docMk/>
          <pc:sldMk cId="118557473" sldId="2147470598"/>
        </pc:sldMkLst>
      </pc:sldChg>
      <pc:sldChg chg="del">
        <pc:chgData name="Ben Stegink" userId="bba285e7-c67a-4500-889f-9795828fa283" providerId="ADAL" clId="{58A2CF18-1E4F-D24B-9638-26BDEC581EC6}" dt="2023-10-20T03:20:18.630" v="383" actId="2696"/>
        <pc:sldMkLst>
          <pc:docMk/>
          <pc:sldMk cId="3342576231" sldId="2147470599"/>
        </pc:sldMkLst>
      </pc:sldChg>
      <pc:sldChg chg="del">
        <pc:chgData name="Ben Stegink" userId="bba285e7-c67a-4500-889f-9795828fa283" providerId="ADAL" clId="{58A2CF18-1E4F-D24B-9638-26BDEC581EC6}" dt="2023-10-20T03:20:18.630" v="383" actId="2696"/>
        <pc:sldMkLst>
          <pc:docMk/>
          <pc:sldMk cId="4236507548" sldId="2147470600"/>
        </pc:sldMkLst>
      </pc:sldChg>
      <pc:sldChg chg="del">
        <pc:chgData name="Ben Stegink" userId="bba285e7-c67a-4500-889f-9795828fa283" providerId="ADAL" clId="{58A2CF18-1E4F-D24B-9638-26BDEC581EC6}" dt="2023-10-20T03:18:13.782" v="350" actId="2696"/>
        <pc:sldMkLst>
          <pc:docMk/>
          <pc:sldMk cId="1508467933" sldId="2147470603"/>
        </pc:sldMkLst>
      </pc:sldChg>
      <pc:sldChg chg="del">
        <pc:chgData name="Ben Stegink" userId="bba285e7-c67a-4500-889f-9795828fa283" providerId="ADAL" clId="{58A2CF18-1E4F-D24B-9638-26BDEC581EC6}" dt="2023-10-20T03:18:19.232" v="351" actId="2696"/>
        <pc:sldMkLst>
          <pc:docMk/>
          <pc:sldMk cId="3027495839" sldId="2147470605"/>
        </pc:sldMkLst>
      </pc:sldChg>
      <pc:sldChg chg="del">
        <pc:chgData name="Ben Stegink" userId="bba285e7-c67a-4500-889f-9795828fa283" providerId="ADAL" clId="{58A2CF18-1E4F-D24B-9638-26BDEC581EC6}" dt="2023-10-20T03:18:19.232" v="351" actId="2696"/>
        <pc:sldMkLst>
          <pc:docMk/>
          <pc:sldMk cId="1719769223" sldId="2147470606"/>
        </pc:sldMkLst>
      </pc:sldChg>
      <pc:sldChg chg="del">
        <pc:chgData name="Ben Stegink" userId="bba285e7-c67a-4500-889f-9795828fa283" providerId="ADAL" clId="{58A2CF18-1E4F-D24B-9638-26BDEC581EC6}" dt="2023-10-20T03:18:26.183" v="352" actId="2696"/>
        <pc:sldMkLst>
          <pc:docMk/>
          <pc:sldMk cId="600173813" sldId="2147470612"/>
        </pc:sldMkLst>
      </pc:sldChg>
      <pc:sldChg chg="del">
        <pc:chgData name="Ben Stegink" userId="bba285e7-c67a-4500-889f-9795828fa283" providerId="ADAL" clId="{58A2CF18-1E4F-D24B-9638-26BDEC581EC6}" dt="2023-10-20T03:18:26.183" v="352" actId="2696"/>
        <pc:sldMkLst>
          <pc:docMk/>
          <pc:sldMk cId="3099386534" sldId="2147470614"/>
        </pc:sldMkLst>
      </pc:sldChg>
      <pc:sldChg chg="del">
        <pc:chgData name="Ben Stegink" userId="bba285e7-c67a-4500-889f-9795828fa283" providerId="ADAL" clId="{58A2CF18-1E4F-D24B-9638-26BDEC581EC6}" dt="2023-10-20T03:18:26.183" v="352" actId="2696"/>
        <pc:sldMkLst>
          <pc:docMk/>
          <pc:sldMk cId="2258368551" sldId="2147470615"/>
        </pc:sldMkLst>
      </pc:sldChg>
      <pc:sldChg chg="del">
        <pc:chgData name="Ben Stegink" userId="bba285e7-c67a-4500-889f-9795828fa283" providerId="ADAL" clId="{58A2CF18-1E4F-D24B-9638-26BDEC581EC6}" dt="2023-10-20T03:18:26.183" v="352" actId="2696"/>
        <pc:sldMkLst>
          <pc:docMk/>
          <pc:sldMk cId="3852138841" sldId="2147470639"/>
        </pc:sldMkLst>
      </pc:sldChg>
      <pc:sldChg chg="del">
        <pc:chgData name="Ben Stegink" userId="bba285e7-c67a-4500-889f-9795828fa283" providerId="ADAL" clId="{58A2CF18-1E4F-D24B-9638-26BDEC581EC6}" dt="2023-10-20T03:18:26.183" v="352" actId="2696"/>
        <pc:sldMkLst>
          <pc:docMk/>
          <pc:sldMk cId="1527294995" sldId="2147470640"/>
        </pc:sldMkLst>
      </pc:sldChg>
      <pc:sldChg chg="del">
        <pc:chgData name="Ben Stegink" userId="bba285e7-c67a-4500-889f-9795828fa283" providerId="ADAL" clId="{58A2CF18-1E4F-D24B-9638-26BDEC581EC6}" dt="2023-10-20T03:18:19.232" v="351" actId="2696"/>
        <pc:sldMkLst>
          <pc:docMk/>
          <pc:sldMk cId="2507740218" sldId="2147470641"/>
        </pc:sldMkLst>
      </pc:sldChg>
      <pc:sldChg chg="addSp delSp modSp mod">
        <pc:chgData name="Ben Stegink" userId="bba285e7-c67a-4500-889f-9795828fa283" providerId="ADAL" clId="{58A2CF18-1E4F-D24B-9638-26BDEC581EC6}" dt="2023-10-20T03:33:18.411" v="1421" actId="1076"/>
        <pc:sldMkLst>
          <pc:docMk/>
          <pc:sldMk cId="1930379810" sldId="2147470642"/>
        </pc:sldMkLst>
        <pc:spChg chg="mod">
          <ac:chgData name="Ben Stegink" userId="bba285e7-c67a-4500-889f-9795828fa283" providerId="ADAL" clId="{58A2CF18-1E4F-D24B-9638-26BDEC581EC6}" dt="2023-10-20T03:30:26.728" v="1113" actId="20577"/>
          <ac:spMkLst>
            <pc:docMk/>
            <pc:sldMk cId="1930379810" sldId="2147470642"/>
            <ac:spMk id="8" creationId="{AC5E09B0-16D5-5146-DA3B-A3F284FEF559}"/>
          </ac:spMkLst>
        </pc:spChg>
        <pc:spChg chg="mod">
          <ac:chgData name="Ben Stegink" userId="bba285e7-c67a-4500-889f-9795828fa283" providerId="ADAL" clId="{58A2CF18-1E4F-D24B-9638-26BDEC581EC6}" dt="2023-10-20T03:28:56.332" v="991" actId="20577"/>
          <ac:spMkLst>
            <pc:docMk/>
            <pc:sldMk cId="1930379810" sldId="2147470642"/>
            <ac:spMk id="14" creationId="{E307D465-5D56-0B41-96C4-901FFC2422DF}"/>
          </ac:spMkLst>
        </pc:spChg>
        <pc:spChg chg="mod">
          <ac:chgData name="Ben Stegink" userId="bba285e7-c67a-4500-889f-9795828fa283" providerId="ADAL" clId="{58A2CF18-1E4F-D24B-9638-26BDEC581EC6}" dt="2023-10-20T03:33:18.411" v="1421" actId="1076"/>
          <ac:spMkLst>
            <pc:docMk/>
            <pc:sldMk cId="1930379810" sldId="2147470642"/>
            <ac:spMk id="26" creationId="{D64F9C50-717A-130C-58E3-C62C6C6C7356}"/>
          </ac:spMkLst>
        </pc:spChg>
        <pc:spChg chg="mod">
          <ac:chgData name="Ben Stegink" userId="bba285e7-c67a-4500-889f-9795828fa283" providerId="ADAL" clId="{58A2CF18-1E4F-D24B-9638-26BDEC581EC6}" dt="2023-10-20T03:30:49.661" v="1197" actId="20577"/>
          <ac:spMkLst>
            <pc:docMk/>
            <pc:sldMk cId="1930379810" sldId="2147470642"/>
            <ac:spMk id="27" creationId="{5364CE28-477F-9033-F6E4-8D0CBEC648AA}"/>
          </ac:spMkLst>
        </pc:spChg>
        <pc:spChg chg="mod">
          <ac:chgData name="Ben Stegink" userId="bba285e7-c67a-4500-889f-9795828fa283" providerId="ADAL" clId="{58A2CF18-1E4F-D24B-9638-26BDEC581EC6}" dt="2023-10-20T03:33:17.814" v="1420" actId="1076"/>
          <ac:spMkLst>
            <pc:docMk/>
            <pc:sldMk cId="1930379810" sldId="2147470642"/>
            <ac:spMk id="28" creationId="{C1F44AB8-0831-637B-170F-2BD6E75B459C}"/>
          </ac:spMkLst>
        </pc:spChg>
        <pc:spChg chg="mod">
          <ac:chgData name="Ben Stegink" userId="bba285e7-c67a-4500-889f-9795828fa283" providerId="ADAL" clId="{58A2CF18-1E4F-D24B-9638-26BDEC581EC6}" dt="2023-10-20T03:32:01.428" v="1291" actId="20577"/>
          <ac:spMkLst>
            <pc:docMk/>
            <pc:sldMk cId="1930379810" sldId="2147470642"/>
            <ac:spMk id="29" creationId="{57033263-8835-551D-5F70-93803C8437F2}"/>
          </ac:spMkLst>
        </pc:spChg>
        <pc:spChg chg="mod">
          <ac:chgData name="Ben Stegink" userId="bba285e7-c67a-4500-889f-9795828fa283" providerId="ADAL" clId="{58A2CF18-1E4F-D24B-9638-26BDEC581EC6}" dt="2023-10-20T03:32:38.666" v="1415" actId="20577"/>
          <ac:spMkLst>
            <pc:docMk/>
            <pc:sldMk cId="1930379810" sldId="2147470642"/>
            <ac:spMk id="30" creationId="{E4DB80F4-4368-E864-60D6-5DC336E0BA1F}"/>
          </ac:spMkLst>
        </pc:spChg>
        <pc:spChg chg="topLvl">
          <ac:chgData name="Ben Stegink" userId="bba285e7-c67a-4500-889f-9795828fa283" providerId="ADAL" clId="{58A2CF18-1E4F-D24B-9638-26BDEC581EC6}" dt="2023-10-20T03:31:29.320" v="1245" actId="165"/>
          <ac:spMkLst>
            <pc:docMk/>
            <pc:sldMk cId="1930379810" sldId="2147470642"/>
            <ac:spMk id="31" creationId="{7B1E4382-BB52-C342-AC12-7482E5174BA2}"/>
          </ac:spMkLst>
        </pc:spChg>
        <pc:spChg chg="mod topLvl">
          <ac:chgData name="Ben Stegink" userId="bba285e7-c67a-4500-889f-9795828fa283" providerId="ADAL" clId="{58A2CF18-1E4F-D24B-9638-26BDEC581EC6}" dt="2023-10-20T03:33:12.714" v="1419" actId="1076"/>
          <ac:spMkLst>
            <pc:docMk/>
            <pc:sldMk cId="1930379810" sldId="2147470642"/>
            <ac:spMk id="32" creationId="{F611E6AF-EFAB-2DA0-414D-5FBEB581CEC5}"/>
          </ac:spMkLst>
        </pc:spChg>
        <pc:spChg chg="topLvl">
          <ac:chgData name="Ben Stegink" userId="bba285e7-c67a-4500-889f-9795828fa283" providerId="ADAL" clId="{58A2CF18-1E4F-D24B-9638-26BDEC581EC6}" dt="2023-10-20T03:31:29.320" v="1245" actId="165"/>
          <ac:spMkLst>
            <pc:docMk/>
            <pc:sldMk cId="1930379810" sldId="2147470642"/>
            <ac:spMk id="33" creationId="{ED7E149B-2FD5-F082-04D2-FDAF191B09BE}"/>
          </ac:spMkLst>
        </pc:spChg>
        <pc:spChg chg="del">
          <ac:chgData name="Ben Stegink" userId="bba285e7-c67a-4500-889f-9795828fa283" providerId="ADAL" clId="{58A2CF18-1E4F-D24B-9638-26BDEC581EC6}" dt="2023-10-20T03:29:51.556" v="995" actId="478"/>
          <ac:spMkLst>
            <pc:docMk/>
            <pc:sldMk cId="1930379810" sldId="2147470642"/>
            <ac:spMk id="35" creationId="{150EEC9B-BBA0-B3FA-127A-869F85F85AC2}"/>
          </ac:spMkLst>
        </pc:spChg>
        <pc:grpChg chg="del">
          <ac:chgData name="Ben Stegink" userId="bba285e7-c67a-4500-889f-9795828fa283" providerId="ADAL" clId="{58A2CF18-1E4F-D24B-9638-26BDEC581EC6}" dt="2023-10-20T03:31:29.320" v="1245" actId="165"/>
          <ac:grpSpMkLst>
            <pc:docMk/>
            <pc:sldMk cId="1930379810" sldId="2147470642"/>
            <ac:grpSpMk id="2" creationId="{D89A67AF-D9CB-4E7E-E9C3-CB78A7D81A19}"/>
          </ac:grpSpMkLst>
        </pc:grpChg>
        <pc:picChg chg="add mod">
          <ac:chgData name="Ben Stegink" userId="bba285e7-c67a-4500-889f-9795828fa283" providerId="ADAL" clId="{58A2CF18-1E4F-D24B-9638-26BDEC581EC6}" dt="2023-10-20T03:29:53.631" v="996" actId="1076"/>
          <ac:picMkLst>
            <pc:docMk/>
            <pc:sldMk cId="1930379810" sldId="2147470642"/>
            <ac:picMk id="3" creationId="{1EDF51EC-AC64-93C7-1038-9249695798EF}"/>
          </ac:picMkLst>
        </pc:picChg>
        <pc:picChg chg="add mod">
          <ac:chgData name="Ben Stegink" userId="bba285e7-c67a-4500-889f-9795828fa283" providerId="ADAL" clId="{58A2CF18-1E4F-D24B-9638-26BDEC581EC6}" dt="2023-10-20T03:29:59.193" v="997" actId="1076"/>
          <ac:picMkLst>
            <pc:docMk/>
            <pc:sldMk cId="1930379810" sldId="2147470642"/>
            <ac:picMk id="4" creationId="{D916E4F3-6BDC-CFF2-423B-D64B50BC1463}"/>
          </ac:picMkLst>
        </pc:picChg>
        <pc:picChg chg="del">
          <ac:chgData name="Ben Stegink" userId="bba285e7-c67a-4500-889f-9795828fa283" providerId="ADAL" clId="{58A2CF18-1E4F-D24B-9638-26BDEC581EC6}" dt="2023-10-20T03:28:33.604" v="963" actId="478"/>
          <ac:picMkLst>
            <pc:docMk/>
            <pc:sldMk cId="1930379810" sldId="2147470642"/>
            <ac:picMk id="34" creationId="{849ADF2F-E43C-9D88-7F61-0F9CD38A01FD}"/>
          </ac:picMkLst>
        </pc:picChg>
      </pc:sldChg>
      <pc:sldChg chg="del">
        <pc:chgData name="Ben Stegink" userId="bba285e7-c67a-4500-889f-9795828fa283" providerId="ADAL" clId="{58A2CF18-1E4F-D24B-9638-26BDEC581EC6}" dt="2023-10-20T04:08:40.067" v="1604" actId="2696"/>
        <pc:sldMkLst>
          <pc:docMk/>
          <pc:sldMk cId="2516533233" sldId="2147470643"/>
        </pc:sldMkLst>
      </pc:sldChg>
      <pc:sldChg chg="del">
        <pc:chgData name="Ben Stegink" userId="bba285e7-c67a-4500-889f-9795828fa283" providerId="ADAL" clId="{58A2CF18-1E4F-D24B-9638-26BDEC581EC6}" dt="2023-10-20T02:59:35.752" v="6" actId="2696"/>
        <pc:sldMkLst>
          <pc:docMk/>
          <pc:sldMk cId="3811424715" sldId="2147470644"/>
        </pc:sldMkLst>
      </pc:sldChg>
      <pc:sldChg chg="del">
        <pc:chgData name="Ben Stegink" userId="bba285e7-c67a-4500-889f-9795828fa283" providerId="ADAL" clId="{58A2CF18-1E4F-D24B-9638-26BDEC581EC6}" dt="2023-10-20T02:59:35.752" v="6" actId="2696"/>
        <pc:sldMkLst>
          <pc:docMk/>
          <pc:sldMk cId="1557054354" sldId="2147470645"/>
        </pc:sldMkLst>
      </pc:sldChg>
      <pc:sldChg chg="del">
        <pc:chgData name="Ben Stegink" userId="bba285e7-c67a-4500-889f-9795828fa283" providerId="ADAL" clId="{58A2CF18-1E4F-D24B-9638-26BDEC581EC6}" dt="2023-10-20T02:59:35.752" v="6" actId="2696"/>
        <pc:sldMkLst>
          <pc:docMk/>
          <pc:sldMk cId="811598282" sldId="2147470647"/>
        </pc:sldMkLst>
      </pc:sldChg>
      <pc:sldChg chg="del">
        <pc:chgData name="Ben Stegink" userId="bba285e7-c67a-4500-889f-9795828fa283" providerId="ADAL" clId="{58A2CF18-1E4F-D24B-9638-26BDEC581EC6}" dt="2023-10-20T03:18:19.232" v="351" actId="2696"/>
        <pc:sldMkLst>
          <pc:docMk/>
          <pc:sldMk cId="2206316497" sldId="2147470649"/>
        </pc:sldMkLst>
      </pc:sldChg>
      <pc:sldChg chg="addSp delSp modSp mod">
        <pc:chgData name="Ben Stegink" userId="bba285e7-c67a-4500-889f-9795828fa283" providerId="ADAL" clId="{58A2CF18-1E4F-D24B-9638-26BDEC581EC6}" dt="2023-10-20T03:23:28.918" v="598" actId="1076"/>
        <pc:sldMkLst>
          <pc:docMk/>
          <pc:sldMk cId="1075821562" sldId="2147470652"/>
        </pc:sldMkLst>
        <pc:spChg chg="mod">
          <ac:chgData name="Ben Stegink" userId="bba285e7-c67a-4500-889f-9795828fa283" providerId="ADAL" clId="{58A2CF18-1E4F-D24B-9638-26BDEC581EC6}" dt="2023-10-20T03:21:47.694" v="508" actId="20577"/>
          <ac:spMkLst>
            <pc:docMk/>
            <pc:sldMk cId="1075821562" sldId="2147470652"/>
            <ac:spMk id="2" creationId="{C638A197-CE90-8E9C-7CEC-7D506985B5F6}"/>
          </ac:spMkLst>
        </pc:spChg>
        <pc:spChg chg="del">
          <ac:chgData name="Ben Stegink" userId="bba285e7-c67a-4500-889f-9795828fa283" providerId="ADAL" clId="{58A2CF18-1E4F-D24B-9638-26BDEC581EC6}" dt="2023-10-20T03:23:13.533" v="595" actId="478"/>
          <ac:spMkLst>
            <pc:docMk/>
            <pc:sldMk cId="1075821562" sldId="2147470652"/>
            <ac:spMk id="9" creationId="{2A7263C9-2A27-16D0-5031-151AF39A9D4D}"/>
          </ac:spMkLst>
        </pc:spChg>
        <pc:spChg chg="del mod">
          <ac:chgData name="Ben Stegink" userId="bba285e7-c67a-4500-889f-9795828fa283" providerId="ADAL" clId="{58A2CF18-1E4F-D24B-9638-26BDEC581EC6}" dt="2023-10-20T03:22:35.794" v="513" actId="478"/>
          <ac:spMkLst>
            <pc:docMk/>
            <pc:sldMk cId="1075821562" sldId="2147470652"/>
            <ac:spMk id="11" creationId="{FFE0D70F-F4A6-DDA6-58E2-D3D071FA3882}"/>
          </ac:spMkLst>
        </pc:spChg>
        <pc:spChg chg="mod">
          <ac:chgData name="Ben Stegink" userId="bba285e7-c67a-4500-889f-9795828fa283" providerId="ADAL" clId="{58A2CF18-1E4F-D24B-9638-26BDEC581EC6}" dt="2023-10-20T03:21:14.196" v="407" actId="20577"/>
          <ac:spMkLst>
            <pc:docMk/>
            <pc:sldMk cId="1075821562" sldId="2147470652"/>
            <ac:spMk id="16" creationId="{EACD2F6F-C0EF-A004-6B28-16C7A40D88FB}"/>
          </ac:spMkLst>
        </pc:spChg>
        <pc:spChg chg="mod">
          <ac:chgData name="Ben Stegink" userId="bba285e7-c67a-4500-889f-9795828fa283" providerId="ADAL" clId="{58A2CF18-1E4F-D24B-9638-26BDEC581EC6}" dt="2023-10-20T03:23:18.519" v="596" actId="14100"/>
          <ac:spMkLst>
            <pc:docMk/>
            <pc:sldMk cId="1075821562" sldId="2147470652"/>
            <ac:spMk id="22" creationId="{D57CF807-70F1-83B5-DFA7-C7B0977EA744}"/>
          </ac:spMkLst>
        </pc:spChg>
        <pc:spChg chg="del">
          <ac:chgData name="Ben Stegink" userId="bba285e7-c67a-4500-889f-9795828fa283" providerId="ADAL" clId="{58A2CF18-1E4F-D24B-9638-26BDEC581EC6}" dt="2023-10-20T03:22:37.067" v="514" actId="478"/>
          <ac:spMkLst>
            <pc:docMk/>
            <pc:sldMk cId="1075821562" sldId="2147470652"/>
            <ac:spMk id="23" creationId="{5F9F14F2-DEB5-59FF-F839-664A04CD705B}"/>
          </ac:spMkLst>
        </pc:spChg>
        <pc:spChg chg="mod">
          <ac:chgData name="Ben Stegink" userId="bba285e7-c67a-4500-889f-9795828fa283" providerId="ADAL" clId="{58A2CF18-1E4F-D24B-9638-26BDEC581EC6}" dt="2023-10-20T03:23:01.773" v="592" actId="20577"/>
          <ac:spMkLst>
            <pc:docMk/>
            <pc:sldMk cId="1075821562" sldId="2147470652"/>
            <ac:spMk id="26" creationId="{C0C1BB21-B42E-8C60-EA20-E95E9DE8EF6C}"/>
          </ac:spMkLst>
        </pc:spChg>
        <pc:picChg chg="add mod">
          <ac:chgData name="Ben Stegink" userId="bba285e7-c67a-4500-889f-9795828fa283" providerId="ADAL" clId="{58A2CF18-1E4F-D24B-9638-26BDEC581EC6}" dt="2023-10-20T03:23:28.918" v="598" actId="1076"/>
          <ac:picMkLst>
            <pc:docMk/>
            <pc:sldMk cId="1075821562" sldId="2147470652"/>
            <ac:picMk id="5" creationId="{D6325169-26A9-6908-E422-3A32749A0280}"/>
          </ac:picMkLst>
        </pc:picChg>
      </pc:sldChg>
      <pc:sldChg chg="addSp delSp modSp mod">
        <pc:chgData name="Ben Stegink" userId="bba285e7-c67a-4500-889f-9795828fa283" providerId="ADAL" clId="{58A2CF18-1E4F-D24B-9638-26BDEC581EC6}" dt="2023-10-20T03:52:28.442" v="1598" actId="20577"/>
        <pc:sldMkLst>
          <pc:docMk/>
          <pc:sldMk cId="1248549037" sldId="2147470653"/>
        </pc:sldMkLst>
        <pc:spChg chg="mod">
          <ac:chgData name="Ben Stegink" userId="bba285e7-c67a-4500-889f-9795828fa283" providerId="ADAL" clId="{58A2CF18-1E4F-D24B-9638-26BDEC581EC6}" dt="2023-10-20T03:52:28.442" v="1598" actId="20577"/>
          <ac:spMkLst>
            <pc:docMk/>
            <pc:sldMk cId="1248549037" sldId="2147470653"/>
            <ac:spMk id="20" creationId="{EE68C71B-14EF-E05B-8C01-398F72C78DAF}"/>
          </ac:spMkLst>
        </pc:spChg>
        <pc:spChg chg="mod">
          <ac:chgData name="Ben Stegink" userId="bba285e7-c67a-4500-889f-9795828fa283" providerId="ADAL" clId="{58A2CF18-1E4F-D24B-9638-26BDEC581EC6}" dt="2023-10-20T03:44:43.064" v="1523" actId="20577"/>
          <ac:spMkLst>
            <pc:docMk/>
            <pc:sldMk cId="1248549037" sldId="2147470653"/>
            <ac:spMk id="23" creationId="{B887FBA5-E137-48EA-0BAB-63AA38F29322}"/>
          </ac:spMkLst>
        </pc:spChg>
        <pc:spChg chg="mod">
          <ac:chgData name="Ben Stegink" userId="bba285e7-c67a-4500-889f-9795828fa283" providerId="ADAL" clId="{58A2CF18-1E4F-D24B-9638-26BDEC581EC6}" dt="2023-10-20T03:40:23.899" v="1447" actId="20577"/>
          <ac:spMkLst>
            <pc:docMk/>
            <pc:sldMk cId="1248549037" sldId="2147470653"/>
            <ac:spMk id="63" creationId="{CE473E94-608E-72B2-D60F-50B0EB69B731}"/>
          </ac:spMkLst>
        </pc:spChg>
        <pc:spChg chg="mod">
          <ac:chgData name="Ben Stegink" userId="bba285e7-c67a-4500-889f-9795828fa283" providerId="ADAL" clId="{58A2CF18-1E4F-D24B-9638-26BDEC581EC6}" dt="2023-10-20T03:44:52.616" v="1535" actId="20577"/>
          <ac:spMkLst>
            <pc:docMk/>
            <pc:sldMk cId="1248549037" sldId="2147470653"/>
            <ac:spMk id="80" creationId="{0E155BA2-4B92-D92F-AD27-290A24221CCA}"/>
          </ac:spMkLst>
        </pc:spChg>
        <pc:spChg chg="mod">
          <ac:chgData name="Ben Stegink" userId="bba285e7-c67a-4500-889f-9795828fa283" providerId="ADAL" clId="{58A2CF18-1E4F-D24B-9638-26BDEC581EC6}" dt="2023-10-20T03:45:02.475" v="1541" actId="20577"/>
          <ac:spMkLst>
            <pc:docMk/>
            <pc:sldMk cId="1248549037" sldId="2147470653"/>
            <ac:spMk id="81" creationId="{3EF23120-BC47-480D-7562-9DA187CE7581}"/>
          </ac:spMkLst>
        </pc:spChg>
        <pc:spChg chg="del">
          <ac:chgData name="Ben Stegink" userId="bba285e7-c67a-4500-889f-9795828fa283" providerId="ADAL" clId="{58A2CF18-1E4F-D24B-9638-26BDEC581EC6}" dt="2023-10-20T03:45:39.522" v="1548" actId="478"/>
          <ac:spMkLst>
            <pc:docMk/>
            <pc:sldMk cId="1248549037" sldId="2147470653"/>
            <ac:spMk id="82" creationId="{4FA4F438-871F-EE0E-E06C-DD65ECA6683C}"/>
          </ac:spMkLst>
        </pc:spChg>
        <pc:spChg chg="del">
          <ac:chgData name="Ben Stegink" userId="bba285e7-c67a-4500-889f-9795828fa283" providerId="ADAL" clId="{58A2CF18-1E4F-D24B-9638-26BDEC581EC6}" dt="2023-10-20T03:45:41.931" v="1549" actId="478"/>
          <ac:spMkLst>
            <pc:docMk/>
            <pc:sldMk cId="1248549037" sldId="2147470653"/>
            <ac:spMk id="83" creationId="{BF3B227A-A04C-4D42-6970-F94E13EA1304}"/>
          </ac:spMkLst>
        </pc:spChg>
        <pc:spChg chg="del">
          <ac:chgData name="Ben Stegink" userId="bba285e7-c67a-4500-889f-9795828fa283" providerId="ADAL" clId="{58A2CF18-1E4F-D24B-9638-26BDEC581EC6}" dt="2023-10-20T03:45:10.298" v="1543" actId="478"/>
          <ac:spMkLst>
            <pc:docMk/>
            <pc:sldMk cId="1248549037" sldId="2147470653"/>
            <ac:spMk id="96" creationId="{A8E49D47-9778-F102-E4FD-2AF246C9665F}"/>
          </ac:spMkLst>
        </pc:spChg>
        <pc:spChg chg="del">
          <ac:chgData name="Ben Stegink" userId="bba285e7-c67a-4500-889f-9795828fa283" providerId="ADAL" clId="{58A2CF18-1E4F-D24B-9638-26BDEC581EC6}" dt="2023-10-20T03:45:11.764" v="1544" actId="478"/>
          <ac:spMkLst>
            <pc:docMk/>
            <pc:sldMk cId="1248549037" sldId="2147470653"/>
            <ac:spMk id="97" creationId="{02724FA2-7587-5FED-4079-C88808C141D7}"/>
          </ac:spMkLst>
        </pc:spChg>
        <pc:spChg chg="del">
          <ac:chgData name="Ben Stegink" userId="bba285e7-c67a-4500-889f-9795828fa283" providerId="ADAL" clId="{58A2CF18-1E4F-D24B-9638-26BDEC581EC6}" dt="2023-10-20T03:45:14.074" v="1545" actId="478"/>
          <ac:spMkLst>
            <pc:docMk/>
            <pc:sldMk cId="1248549037" sldId="2147470653"/>
            <ac:spMk id="98" creationId="{18EA0A79-9D73-AF74-51B5-DA2F45C55B23}"/>
          </ac:spMkLst>
        </pc:spChg>
        <pc:spChg chg="del topLvl">
          <ac:chgData name="Ben Stegink" userId="bba285e7-c67a-4500-889f-9795828fa283" providerId="ADAL" clId="{58A2CF18-1E4F-D24B-9638-26BDEC581EC6}" dt="2023-10-20T03:45:37.363" v="1547" actId="478"/>
          <ac:spMkLst>
            <pc:docMk/>
            <pc:sldMk cId="1248549037" sldId="2147470653"/>
            <ac:spMk id="106" creationId="{6C9E977D-B294-445F-2621-6CB9FF00F892}"/>
          </ac:spMkLst>
        </pc:spChg>
        <pc:spChg chg="topLvl">
          <ac:chgData name="Ben Stegink" userId="bba285e7-c67a-4500-889f-9795828fa283" providerId="ADAL" clId="{58A2CF18-1E4F-D24B-9638-26BDEC581EC6}" dt="2023-10-20T03:45:24.630" v="1546" actId="165"/>
          <ac:spMkLst>
            <pc:docMk/>
            <pc:sldMk cId="1248549037" sldId="2147470653"/>
            <ac:spMk id="117" creationId="{4196CFF4-804F-C531-982E-C2C6CB8CFC65}"/>
          </ac:spMkLst>
        </pc:spChg>
        <pc:spChg chg="topLvl">
          <ac:chgData name="Ben Stegink" userId="bba285e7-c67a-4500-889f-9795828fa283" providerId="ADAL" clId="{58A2CF18-1E4F-D24B-9638-26BDEC581EC6}" dt="2023-10-20T03:45:24.630" v="1546" actId="165"/>
          <ac:spMkLst>
            <pc:docMk/>
            <pc:sldMk cId="1248549037" sldId="2147470653"/>
            <ac:spMk id="118" creationId="{1A60E8AE-9A86-F073-A188-4505C1F3BF56}"/>
          </ac:spMkLst>
        </pc:spChg>
        <pc:spChg chg="del topLvl">
          <ac:chgData name="Ben Stegink" userId="bba285e7-c67a-4500-889f-9795828fa283" providerId="ADAL" clId="{58A2CF18-1E4F-D24B-9638-26BDEC581EC6}" dt="2023-10-20T03:45:37.363" v="1547" actId="478"/>
          <ac:spMkLst>
            <pc:docMk/>
            <pc:sldMk cId="1248549037" sldId="2147470653"/>
            <ac:spMk id="120" creationId="{DC7A6AA6-A11C-4BE1-8F31-F6D1F720E9EF}"/>
          </ac:spMkLst>
        </pc:spChg>
        <pc:grpChg chg="del">
          <ac:chgData name="Ben Stegink" userId="bba285e7-c67a-4500-889f-9795828fa283" providerId="ADAL" clId="{58A2CF18-1E4F-D24B-9638-26BDEC581EC6}" dt="2023-10-20T03:45:24.630" v="1546" actId="165"/>
          <ac:grpSpMkLst>
            <pc:docMk/>
            <pc:sldMk cId="1248549037" sldId="2147470653"/>
            <ac:grpSpMk id="2" creationId="{49E60377-9BE1-6B58-D687-BA802D2CE638}"/>
          </ac:grpSpMkLst>
        </pc:grpChg>
        <pc:grpChg chg="del">
          <ac:chgData name="Ben Stegink" userId="bba285e7-c67a-4500-889f-9795828fa283" providerId="ADAL" clId="{58A2CF18-1E4F-D24B-9638-26BDEC581EC6}" dt="2023-10-20T03:45:06.988" v="1542" actId="478"/>
          <ac:grpSpMkLst>
            <pc:docMk/>
            <pc:sldMk cId="1248549037" sldId="2147470653"/>
            <ac:grpSpMk id="21" creationId="{FFCAC9E3-E58B-7022-F86E-CA5947AE902E}"/>
          </ac:grpSpMkLst>
        </pc:grpChg>
        <pc:grpChg chg="topLvl">
          <ac:chgData name="Ben Stegink" userId="bba285e7-c67a-4500-889f-9795828fa283" providerId="ADAL" clId="{58A2CF18-1E4F-D24B-9638-26BDEC581EC6}" dt="2023-10-20T03:45:24.630" v="1546" actId="165"/>
          <ac:grpSpMkLst>
            <pc:docMk/>
            <pc:sldMk cId="1248549037" sldId="2147470653"/>
            <ac:grpSpMk id="61" creationId="{B9EB53D6-C2A9-FB5F-CC4C-A061ADF80B8E}"/>
          </ac:grpSpMkLst>
        </pc:grpChg>
        <pc:grpChg chg="topLvl">
          <ac:chgData name="Ben Stegink" userId="bba285e7-c67a-4500-889f-9795828fa283" providerId="ADAL" clId="{58A2CF18-1E4F-D24B-9638-26BDEC581EC6}" dt="2023-10-20T03:45:24.630" v="1546" actId="165"/>
          <ac:grpSpMkLst>
            <pc:docMk/>
            <pc:sldMk cId="1248549037" sldId="2147470653"/>
            <ac:grpSpMk id="65" creationId="{439F9F8E-23AF-B96E-1C83-6902B0D8BB59}"/>
          </ac:grpSpMkLst>
        </pc:grpChg>
        <pc:grpChg chg="del topLvl">
          <ac:chgData name="Ben Stegink" userId="bba285e7-c67a-4500-889f-9795828fa283" providerId="ADAL" clId="{58A2CF18-1E4F-D24B-9638-26BDEC581EC6}" dt="2023-10-20T03:45:37.363" v="1547" actId="478"/>
          <ac:grpSpMkLst>
            <pc:docMk/>
            <pc:sldMk cId="1248549037" sldId="2147470653"/>
            <ac:grpSpMk id="70" creationId="{C42B4E76-1202-D89A-8E81-D947515BE112}"/>
          </ac:grpSpMkLst>
        </pc:grpChg>
        <pc:grpChg chg="del topLvl">
          <ac:chgData name="Ben Stegink" userId="bba285e7-c67a-4500-889f-9795828fa283" providerId="ADAL" clId="{58A2CF18-1E4F-D24B-9638-26BDEC581EC6}" dt="2023-10-20T03:45:37.363" v="1547" actId="478"/>
          <ac:grpSpMkLst>
            <pc:docMk/>
            <pc:sldMk cId="1248549037" sldId="2147470653"/>
            <ac:grpSpMk id="84" creationId="{BBF66F5E-22E3-C538-178A-3FA03D1922DF}"/>
          </ac:grpSpMkLst>
        </pc:grpChg>
        <pc:picChg chg="add mod">
          <ac:chgData name="Ben Stegink" userId="bba285e7-c67a-4500-889f-9795828fa283" providerId="ADAL" clId="{58A2CF18-1E4F-D24B-9638-26BDEC581EC6}" dt="2023-10-20T03:52:13.235" v="1561" actId="1076"/>
          <ac:picMkLst>
            <pc:docMk/>
            <pc:sldMk cId="1248549037" sldId="2147470653"/>
            <ac:picMk id="4" creationId="{1E5EA668-965F-2627-D35B-7697E4C1DFDB}"/>
          </ac:picMkLst>
        </pc:picChg>
        <pc:picChg chg="add mod">
          <ac:chgData name="Ben Stegink" userId="bba285e7-c67a-4500-889f-9795828fa283" providerId="ADAL" clId="{58A2CF18-1E4F-D24B-9638-26BDEC581EC6}" dt="2023-10-20T03:52:15.316" v="1562" actId="1076"/>
          <ac:picMkLst>
            <pc:docMk/>
            <pc:sldMk cId="1248549037" sldId="2147470653"/>
            <ac:picMk id="24" creationId="{F8741977-4B8A-8466-0662-0421767D7D8B}"/>
          </ac:picMkLst>
        </pc:picChg>
      </pc:sldChg>
      <pc:sldChg chg="del">
        <pc:chgData name="Ben Stegink" userId="bba285e7-c67a-4500-889f-9795828fa283" providerId="ADAL" clId="{58A2CF18-1E4F-D24B-9638-26BDEC581EC6}" dt="2023-10-20T03:06:07.480" v="28" actId="2696"/>
        <pc:sldMkLst>
          <pc:docMk/>
          <pc:sldMk cId="2061376737" sldId="2147470654"/>
        </pc:sldMkLst>
      </pc:sldChg>
      <pc:sldChg chg="del">
        <pc:chgData name="Ben Stegink" userId="bba285e7-c67a-4500-889f-9795828fa283" providerId="ADAL" clId="{58A2CF18-1E4F-D24B-9638-26BDEC581EC6}" dt="2023-10-20T03:06:07.420" v="25" actId="2696"/>
        <pc:sldMkLst>
          <pc:docMk/>
          <pc:sldMk cId="2487465737" sldId="2147470656"/>
        </pc:sldMkLst>
      </pc:sldChg>
      <pc:sldChg chg="del">
        <pc:chgData name="Ben Stegink" userId="bba285e7-c67a-4500-889f-9795828fa283" providerId="ADAL" clId="{58A2CF18-1E4F-D24B-9638-26BDEC581EC6}" dt="2023-10-20T03:06:07.453" v="26" actId="2696"/>
        <pc:sldMkLst>
          <pc:docMk/>
          <pc:sldMk cId="3269018106" sldId="2147470657"/>
        </pc:sldMkLst>
      </pc:sldChg>
      <pc:sldChg chg="del">
        <pc:chgData name="Ben Stegink" userId="bba285e7-c67a-4500-889f-9795828fa283" providerId="ADAL" clId="{58A2CF18-1E4F-D24B-9638-26BDEC581EC6}" dt="2023-10-20T03:06:07.502" v="29" actId="2696"/>
        <pc:sldMkLst>
          <pc:docMk/>
          <pc:sldMk cId="312667053" sldId="2147470658"/>
        </pc:sldMkLst>
      </pc:sldChg>
      <pc:sldChg chg="addSp modSp mod">
        <pc:chgData name="Ben Stegink" userId="bba285e7-c67a-4500-889f-9795828fa283" providerId="ADAL" clId="{58A2CF18-1E4F-D24B-9638-26BDEC581EC6}" dt="2023-10-20T03:16:40.433" v="346" actId="20577"/>
        <pc:sldMkLst>
          <pc:docMk/>
          <pc:sldMk cId="1069783884" sldId="2147470661"/>
        </pc:sldMkLst>
        <pc:spChg chg="mod">
          <ac:chgData name="Ben Stegink" userId="bba285e7-c67a-4500-889f-9795828fa283" providerId="ADAL" clId="{58A2CF18-1E4F-D24B-9638-26BDEC581EC6}" dt="2023-10-20T03:15:55.609" v="267" actId="1076"/>
          <ac:spMkLst>
            <pc:docMk/>
            <pc:sldMk cId="1069783884" sldId="2147470661"/>
            <ac:spMk id="2" creationId="{91D9C60D-BE8B-1970-C7E5-F89F78FC7F0D}"/>
          </ac:spMkLst>
        </pc:spChg>
        <pc:spChg chg="mod">
          <ac:chgData name="Ben Stegink" userId="bba285e7-c67a-4500-889f-9795828fa283" providerId="ADAL" clId="{58A2CF18-1E4F-D24B-9638-26BDEC581EC6}" dt="2023-10-20T03:14:26.358" v="262" actId="1076"/>
          <ac:spMkLst>
            <pc:docMk/>
            <pc:sldMk cId="1069783884" sldId="2147470661"/>
            <ac:spMk id="3" creationId="{44FD6964-1839-D6F7-9A7A-94AC283F79AD}"/>
          </ac:spMkLst>
        </pc:spChg>
        <pc:spChg chg="mod">
          <ac:chgData name="Ben Stegink" userId="bba285e7-c67a-4500-889f-9795828fa283" providerId="ADAL" clId="{58A2CF18-1E4F-D24B-9638-26BDEC581EC6}" dt="2023-10-20T03:14:44.667" v="263" actId="1076"/>
          <ac:spMkLst>
            <pc:docMk/>
            <pc:sldMk cId="1069783884" sldId="2147470661"/>
            <ac:spMk id="4" creationId="{235731A6-4DBA-8B79-EB1C-4DA018C9DC54}"/>
          </ac:spMkLst>
        </pc:spChg>
        <pc:spChg chg="mod">
          <ac:chgData name="Ben Stegink" userId="bba285e7-c67a-4500-889f-9795828fa283" providerId="ADAL" clId="{58A2CF18-1E4F-D24B-9638-26BDEC581EC6}" dt="2023-10-20T03:15:15.049" v="264" actId="1076"/>
          <ac:spMkLst>
            <pc:docMk/>
            <pc:sldMk cId="1069783884" sldId="2147470661"/>
            <ac:spMk id="5" creationId="{88D42C0B-ACBB-F59A-DD95-5F8C7CF90D71}"/>
          </ac:spMkLst>
        </pc:spChg>
        <pc:spChg chg="mod">
          <ac:chgData name="Ben Stegink" userId="bba285e7-c67a-4500-889f-9795828fa283" providerId="ADAL" clId="{58A2CF18-1E4F-D24B-9638-26BDEC581EC6}" dt="2023-10-20T03:15:27.997" v="265" actId="1076"/>
          <ac:spMkLst>
            <pc:docMk/>
            <pc:sldMk cId="1069783884" sldId="2147470661"/>
            <ac:spMk id="6" creationId="{2D454232-2E05-29B7-1BBC-89AC7798CAE9}"/>
          </ac:spMkLst>
        </pc:spChg>
        <pc:spChg chg="add mod">
          <ac:chgData name="Ben Stegink" userId="bba285e7-c67a-4500-889f-9795828fa283" providerId="ADAL" clId="{58A2CF18-1E4F-D24B-9638-26BDEC581EC6}" dt="2023-10-20T03:15:46.279" v="266" actId="1076"/>
          <ac:spMkLst>
            <pc:docMk/>
            <pc:sldMk cId="1069783884" sldId="2147470661"/>
            <ac:spMk id="7" creationId="{DF2098E5-D404-9E3D-74C7-949A72B09F28}"/>
          </ac:spMkLst>
        </pc:spChg>
        <pc:spChg chg="mod">
          <ac:chgData name="Ben Stegink" userId="bba285e7-c67a-4500-889f-9795828fa283" providerId="ADAL" clId="{58A2CF18-1E4F-D24B-9638-26BDEC581EC6}" dt="2023-10-20T03:16:40.433" v="346" actId="20577"/>
          <ac:spMkLst>
            <pc:docMk/>
            <pc:sldMk cId="1069783884" sldId="2147470661"/>
            <ac:spMk id="9" creationId="{6B293DD1-BCDD-4DDD-82EC-8675E4FB99CC}"/>
          </ac:spMkLst>
        </pc:spChg>
        <pc:spChg chg="mod">
          <ac:chgData name="Ben Stegink" userId="bba285e7-c67a-4500-889f-9795828fa283" providerId="ADAL" clId="{58A2CF18-1E4F-D24B-9638-26BDEC581EC6}" dt="2023-10-20T03:16:35.234" v="333" actId="20577"/>
          <ac:spMkLst>
            <pc:docMk/>
            <pc:sldMk cId="1069783884" sldId="2147470661"/>
            <ac:spMk id="26" creationId="{61CB9FC1-5019-7EED-EF90-166968D55DF6}"/>
          </ac:spMkLst>
        </pc:spChg>
        <pc:spChg chg="mod">
          <ac:chgData name="Ben Stegink" userId="bba285e7-c67a-4500-889f-9795828fa283" providerId="ADAL" clId="{58A2CF18-1E4F-D24B-9638-26BDEC581EC6}" dt="2023-10-20T03:15:46.279" v="266" actId="1076"/>
          <ac:spMkLst>
            <pc:docMk/>
            <pc:sldMk cId="1069783884" sldId="2147470661"/>
            <ac:spMk id="29" creationId="{701EC6EA-AE23-1A31-DC8F-9C237DE6558B}"/>
          </ac:spMkLst>
        </pc:spChg>
        <pc:spChg chg="mod">
          <ac:chgData name="Ben Stegink" userId="bba285e7-c67a-4500-889f-9795828fa283" providerId="ADAL" clId="{58A2CF18-1E4F-D24B-9638-26BDEC581EC6}" dt="2023-10-20T03:15:55.609" v="267" actId="1076"/>
          <ac:spMkLst>
            <pc:docMk/>
            <pc:sldMk cId="1069783884" sldId="2147470661"/>
            <ac:spMk id="31" creationId="{9BB142AF-8A43-DF45-71A0-457F532822BA}"/>
          </ac:spMkLst>
        </pc:spChg>
        <pc:spChg chg="mod">
          <ac:chgData name="Ben Stegink" userId="bba285e7-c67a-4500-889f-9795828fa283" providerId="ADAL" clId="{58A2CF18-1E4F-D24B-9638-26BDEC581EC6}" dt="2023-10-20T03:15:55.609" v="267" actId="1076"/>
          <ac:spMkLst>
            <pc:docMk/>
            <pc:sldMk cId="1069783884" sldId="2147470661"/>
            <ac:spMk id="32" creationId="{133ED997-353F-9E3F-B667-EA8230D8C23E}"/>
          </ac:spMkLst>
        </pc:spChg>
        <pc:spChg chg="mod">
          <ac:chgData name="Ben Stegink" userId="bba285e7-c67a-4500-889f-9795828fa283" providerId="ADAL" clId="{58A2CF18-1E4F-D24B-9638-26BDEC581EC6}" dt="2023-10-20T03:15:55.609" v="267" actId="1076"/>
          <ac:spMkLst>
            <pc:docMk/>
            <pc:sldMk cId="1069783884" sldId="2147470661"/>
            <ac:spMk id="33" creationId="{A642559A-9AC8-908A-56C6-3DECF71AF5BC}"/>
          </ac:spMkLst>
        </pc:spChg>
        <pc:spChg chg="mod">
          <ac:chgData name="Ben Stegink" userId="bba285e7-c67a-4500-889f-9795828fa283" providerId="ADAL" clId="{58A2CF18-1E4F-D24B-9638-26BDEC581EC6}" dt="2023-10-20T03:15:46.279" v="266" actId="1076"/>
          <ac:spMkLst>
            <pc:docMk/>
            <pc:sldMk cId="1069783884" sldId="2147470661"/>
            <ac:spMk id="34" creationId="{9FEDA1C5-E35C-E65D-7CE6-762E144FB81B}"/>
          </ac:spMkLst>
        </pc:spChg>
        <pc:spChg chg="mod">
          <ac:chgData name="Ben Stegink" userId="bba285e7-c67a-4500-889f-9795828fa283" providerId="ADAL" clId="{58A2CF18-1E4F-D24B-9638-26BDEC581EC6}" dt="2023-10-20T03:14:26.358" v="262" actId="1076"/>
          <ac:spMkLst>
            <pc:docMk/>
            <pc:sldMk cId="1069783884" sldId="2147470661"/>
            <ac:spMk id="36" creationId="{B2DA453F-5321-D75D-41D7-171263A04EF9}"/>
          </ac:spMkLst>
        </pc:spChg>
        <pc:spChg chg="mod">
          <ac:chgData name="Ben Stegink" userId="bba285e7-c67a-4500-889f-9795828fa283" providerId="ADAL" clId="{58A2CF18-1E4F-D24B-9638-26BDEC581EC6}" dt="2023-10-20T03:14:26.358" v="262" actId="1076"/>
          <ac:spMkLst>
            <pc:docMk/>
            <pc:sldMk cId="1069783884" sldId="2147470661"/>
            <ac:spMk id="37" creationId="{1D9FAB97-B350-019C-04D4-11BD68E893A5}"/>
          </ac:spMkLst>
        </pc:spChg>
        <pc:spChg chg="mod">
          <ac:chgData name="Ben Stegink" userId="bba285e7-c67a-4500-889f-9795828fa283" providerId="ADAL" clId="{58A2CF18-1E4F-D24B-9638-26BDEC581EC6}" dt="2023-10-20T03:14:26.358" v="262" actId="1076"/>
          <ac:spMkLst>
            <pc:docMk/>
            <pc:sldMk cId="1069783884" sldId="2147470661"/>
            <ac:spMk id="38" creationId="{D1B4AA83-EDA6-E99A-63B5-487F14FB90F5}"/>
          </ac:spMkLst>
        </pc:spChg>
        <pc:spChg chg="add mod">
          <ac:chgData name="Ben Stegink" userId="bba285e7-c67a-4500-889f-9795828fa283" providerId="ADAL" clId="{58A2CF18-1E4F-D24B-9638-26BDEC581EC6}" dt="2023-10-20T03:15:46.279" v="266" actId="1076"/>
          <ac:spMkLst>
            <pc:docMk/>
            <pc:sldMk cId="1069783884" sldId="2147470661"/>
            <ac:spMk id="39" creationId="{6FB1D051-4C7E-2E3A-84FA-8C3DF2F4C6C5}"/>
          </ac:spMkLst>
        </pc:spChg>
        <pc:spChg chg="mod">
          <ac:chgData name="Ben Stegink" userId="bba285e7-c67a-4500-889f-9795828fa283" providerId="ADAL" clId="{58A2CF18-1E4F-D24B-9638-26BDEC581EC6}" dt="2023-10-20T03:14:44.667" v="263" actId="1076"/>
          <ac:spMkLst>
            <pc:docMk/>
            <pc:sldMk cId="1069783884" sldId="2147470661"/>
            <ac:spMk id="41" creationId="{CCA0B666-DD15-E0B0-222C-F4CE52FB841D}"/>
          </ac:spMkLst>
        </pc:spChg>
        <pc:spChg chg="mod">
          <ac:chgData name="Ben Stegink" userId="bba285e7-c67a-4500-889f-9795828fa283" providerId="ADAL" clId="{58A2CF18-1E4F-D24B-9638-26BDEC581EC6}" dt="2023-10-20T03:14:44.667" v="263" actId="1076"/>
          <ac:spMkLst>
            <pc:docMk/>
            <pc:sldMk cId="1069783884" sldId="2147470661"/>
            <ac:spMk id="42" creationId="{D0A35B4C-5D05-B0A5-1875-905C5D741DBA}"/>
          </ac:spMkLst>
        </pc:spChg>
        <pc:spChg chg="mod">
          <ac:chgData name="Ben Stegink" userId="bba285e7-c67a-4500-889f-9795828fa283" providerId="ADAL" clId="{58A2CF18-1E4F-D24B-9638-26BDEC581EC6}" dt="2023-10-20T03:14:44.667" v="263" actId="1076"/>
          <ac:spMkLst>
            <pc:docMk/>
            <pc:sldMk cId="1069783884" sldId="2147470661"/>
            <ac:spMk id="43" creationId="{AEEC9B32-F9B9-E654-1FF5-921A7E8197FC}"/>
          </ac:spMkLst>
        </pc:spChg>
        <pc:spChg chg="mod">
          <ac:chgData name="Ben Stegink" userId="bba285e7-c67a-4500-889f-9795828fa283" providerId="ADAL" clId="{58A2CF18-1E4F-D24B-9638-26BDEC581EC6}" dt="2023-10-20T03:15:15.049" v="264" actId="1076"/>
          <ac:spMkLst>
            <pc:docMk/>
            <pc:sldMk cId="1069783884" sldId="2147470661"/>
            <ac:spMk id="45" creationId="{C55F0D58-1F39-276F-FF91-C4D295512E69}"/>
          </ac:spMkLst>
        </pc:spChg>
        <pc:spChg chg="mod">
          <ac:chgData name="Ben Stegink" userId="bba285e7-c67a-4500-889f-9795828fa283" providerId="ADAL" clId="{58A2CF18-1E4F-D24B-9638-26BDEC581EC6}" dt="2023-10-20T03:15:15.049" v="264" actId="1076"/>
          <ac:spMkLst>
            <pc:docMk/>
            <pc:sldMk cId="1069783884" sldId="2147470661"/>
            <ac:spMk id="47" creationId="{982FA197-FBE1-1562-D0FA-93B1B2FB0E10}"/>
          </ac:spMkLst>
        </pc:spChg>
        <pc:spChg chg="mod">
          <ac:chgData name="Ben Stegink" userId="bba285e7-c67a-4500-889f-9795828fa283" providerId="ADAL" clId="{58A2CF18-1E4F-D24B-9638-26BDEC581EC6}" dt="2023-10-20T03:15:15.049" v="264" actId="1076"/>
          <ac:spMkLst>
            <pc:docMk/>
            <pc:sldMk cId="1069783884" sldId="2147470661"/>
            <ac:spMk id="48" creationId="{1CBE07A3-2CC2-5415-C9A6-08292F3CA2EA}"/>
          </ac:spMkLst>
        </pc:spChg>
        <pc:spChg chg="mod">
          <ac:chgData name="Ben Stegink" userId="bba285e7-c67a-4500-889f-9795828fa283" providerId="ADAL" clId="{58A2CF18-1E4F-D24B-9638-26BDEC581EC6}" dt="2023-10-20T03:15:27.997" v="265" actId="1076"/>
          <ac:spMkLst>
            <pc:docMk/>
            <pc:sldMk cId="1069783884" sldId="2147470661"/>
            <ac:spMk id="50" creationId="{0F5491AA-DB8D-7CE5-260F-132C00D5BF99}"/>
          </ac:spMkLst>
        </pc:spChg>
        <pc:spChg chg="mod">
          <ac:chgData name="Ben Stegink" userId="bba285e7-c67a-4500-889f-9795828fa283" providerId="ADAL" clId="{58A2CF18-1E4F-D24B-9638-26BDEC581EC6}" dt="2023-10-20T03:15:27.997" v="265" actId="1076"/>
          <ac:spMkLst>
            <pc:docMk/>
            <pc:sldMk cId="1069783884" sldId="2147470661"/>
            <ac:spMk id="52" creationId="{304BAFBF-3C22-47A3-896A-397AAF953A37}"/>
          </ac:spMkLst>
        </pc:spChg>
        <pc:spChg chg="mod">
          <ac:chgData name="Ben Stegink" userId="bba285e7-c67a-4500-889f-9795828fa283" providerId="ADAL" clId="{58A2CF18-1E4F-D24B-9638-26BDEC581EC6}" dt="2023-10-20T03:15:27.997" v="265" actId="1076"/>
          <ac:spMkLst>
            <pc:docMk/>
            <pc:sldMk cId="1069783884" sldId="2147470661"/>
            <ac:spMk id="53" creationId="{13D529A4-F5CD-20A7-7E26-F3AD7915C39B}"/>
          </ac:spMkLst>
        </pc:spChg>
        <pc:grpChg chg="add mod">
          <ac:chgData name="Ben Stegink" userId="bba285e7-c67a-4500-889f-9795828fa283" providerId="ADAL" clId="{58A2CF18-1E4F-D24B-9638-26BDEC581EC6}" dt="2023-10-20T03:15:46.279" v="266" actId="1076"/>
          <ac:grpSpMkLst>
            <pc:docMk/>
            <pc:sldMk cId="1069783884" sldId="2147470661"/>
            <ac:grpSpMk id="8" creationId="{B312845B-0039-4E5B-6946-C58F29E3B823}"/>
          </ac:grpSpMkLst>
        </pc:grpChg>
        <pc:grpChg chg="mod">
          <ac:chgData name="Ben Stegink" userId="bba285e7-c67a-4500-889f-9795828fa283" providerId="ADAL" clId="{58A2CF18-1E4F-D24B-9638-26BDEC581EC6}" dt="2023-10-20T03:15:55.609" v="267" actId="1076"/>
          <ac:grpSpMkLst>
            <pc:docMk/>
            <pc:sldMk cId="1069783884" sldId="2147470661"/>
            <ac:grpSpMk id="30" creationId="{2CFDD922-6633-7299-E4D8-6B93B503780D}"/>
          </ac:grpSpMkLst>
        </pc:grpChg>
        <pc:grpChg chg="mod">
          <ac:chgData name="Ben Stegink" userId="bba285e7-c67a-4500-889f-9795828fa283" providerId="ADAL" clId="{58A2CF18-1E4F-D24B-9638-26BDEC581EC6}" dt="2023-10-20T03:14:26.358" v="262" actId="1076"/>
          <ac:grpSpMkLst>
            <pc:docMk/>
            <pc:sldMk cId="1069783884" sldId="2147470661"/>
            <ac:grpSpMk id="35" creationId="{4184581E-01F2-CECD-6F8C-714F730FDD4F}"/>
          </ac:grpSpMkLst>
        </pc:grpChg>
        <pc:grpChg chg="mod">
          <ac:chgData name="Ben Stegink" userId="bba285e7-c67a-4500-889f-9795828fa283" providerId="ADAL" clId="{58A2CF18-1E4F-D24B-9638-26BDEC581EC6}" dt="2023-10-20T03:14:44.667" v="263" actId="1076"/>
          <ac:grpSpMkLst>
            <pc:docMk/>
            <pc:sldMk cId="1069783884" sldId="2147470661"/>
            <ac:grpSpMk id="40" creationId="{2A0F3151-DDE7-0E7C-255B-C98854A1B7FA}"/>
          </ac:grpSpMkLst>
        </pc:grpChg>
        <pc:grpChg chg="mod">
          <ac:chgData name="Ben Stegink" userId="bba285e7-c67a-4500-889f-9795828fa283" providerId="ADAL" clId="{58A2CF18-1E4F-D24B-9638-26BDEC581EC6}" dt="2023-10-20T03:15:15.049" v="264" actId="1076"/>
          <ac:grpSpMkLst>
            <pc:docMk/>
            <pc:sldMk cId="1069783884" sldId="2147470661"/>
            <ac:grpSpMk id="46" creationId="{0B9782A6-5E14-9409-5EA6-BFDC735A3232}"/>
          </ac:grpSpMkLst>
        </pc:grpChg>
        <pc:grpChg chg="mod">
          <ac:chgData name="Ben Stegink" userId="bba285e7-c67a-4500-889f-9795828fa283" providerId="ADAL" clId="{58A2CF18-1E4F-D24B-9638-26BDEC581EC6}" dt="2023-10-20T03:15:27.997" v="265" actId="1076"/>
          <ac:grpSpMkLst>
            <pc:docMk/>
            <pc:sldMk cId="1069783884" sldId="2147470661"/>
            <ac:grpSpMk id="51" creationId="{0DA79999-C703-07A5-685B-32532990A173}"/>
          </ac:grpSpMkLst>
        </pc:grpChg>
      </pc:sldChg>
      <pc:sldChg chg="del">
        <pc:chgData name="Ben Stegink" userId="bba285e7-c67a-4500-889f-9795828fa283" providerId="ADAL" clId="{58A2CF18-1E4F-D24B-9638-26BDEC581EC6}" dt="2023-10-20T03:20:18.630" v="383" actId="2696"/>
        <pc:sldMkLst>
          <pc:docMk/>
          <pc:sldMk cId="220751183" sldId="2147470662"/>
        </pc:sldMkLst>
      </pc:sldChg>
      <pc:sldChg chg="del">
        <pc:chgData name="Ben Stegink" userId="bba285e7-c67a-4500-889f-9795828fa283" providerId="ADAL" clId="{58A2CF18-1E4F-D24B-9638-26BDEC581EC6}" dt="2023-10-20T03:18:19.232" v="351" actId="2696"/>
        <pc:sldMkLst>
          <pc:docMk/>
          <pc:sldMk cId="1119034341" sldId="2147470667"/>
        </pc:sldMkLst>
      </pc:sldChg>
      <pc:sldChg chg="del">
        <pc:chgData name="Ben Stegink" userId="bba285e7-c67a-4500-889f-9795828fa283" providerId="ADAL" clId="{58A2CF18-1E4F-D24B-9638-26BDEC581EC6}" dt="2023-10-20T03:18:26.183" v="352" actId="2696"/>
        <pc:sldMkLst>
          <pc:docMk/>
          <pc:sldMk cId="3355011654" sldId="2147470668"/>
        </pc:sldMkLst>
      </pc:sldChg>
      <pc:sldChg chg="del">
        <pc:chgData name="Ben Stegink" userId="bba285e7-c67a-4500-889f-9795828fa283" providerId="ADAL" clId="{58A2CF18-1E4F-D24B-9638-26BDEC581EC6}" dt="2023-10-20T03:17:58.596" v="348" actId="2696"/>
        <pc:sldMkLst>
          <pc:docMk/>
          <pc:sldMk cId="1189635742" sldId="2147470674"/>
        </pc:sldMkLst>
      </pc:sldChg>
      <pc:sldChg chg="del">
        <pc:chgData name="Ben Stegink" userId="bba285e7-c67a-4500-889f-9795828fa283" providerId="ADAL" clId="{58A2CF18-1E4F-D24B-9638-26BDEC581EC6}" dt="2023-10-20T03:06:07.466" v="27" actId="2696"/>
        <pc:sldMkLst>
          <pc:docMk/>
          <pc:sldMk cId="1885351414" sldId="2147470732"/>
        </pc:sldMkLst>
      </pc:sldChg>
      <pc:sldChg chg="del">
        <pc:chgData name="Ben Stegink" userId="bba285e7-c67a-4500-889f-9795828fa283" providerId="ADAL" clId="{58A2CF18-1E4F-D24B-9638-26BDEC581EC6}" dt="2023-10-20T03:18:19.232" v="351" actId="2696"/>
        <pc:sldMkLst>
          <pc:docMk/>
          <pc:sldMk cId="1166616266" sldId="2147470738"/>
        </pc:sldMkLst>
      </pc:sldChg>
      <pc:sldChg chg="del">
        <pc:chgData name="Ben Stegink" userId="bba285e7-c67a-4500-889f-9795828fa283" providerId="ADAL" clId="{58A2CF18-1E4F-D24B-9638-26BDEC581EC6}" dt="2023-10-20T03:18:13.782" v="350" actId="2696"/>
        <pc:sldMkLst>
          <pc:docMk/>
          <pc:sldMk cId="920511865" sldId="2147470739"/>
        </pc:sldMkLst>
      </pc:sldChg>
      <pc:sldChg chg="del">
        <pc:chgData name="Ben Stegink" userId="bba285e7-c67a-4500-889f-9795828fa283" providerId="ADAL" clId="{58A2CF18-1E4F-D24B-9638-26BDEC581EC6}" dt="2023-10-20T03:17:58.596" v="348" actId="2696"/>
        <pc:sldMkLst>
          <pc:docMk/>
          <pc:sldMk cId="2654484597" sldId="2147470747"/>
        </pc:sldMkLst>
      </pc:sldChg>
      <pc:sldChg chg="del">
        <pc:chgData name="Ben Stegink" userId="bba285e7-c67a-4500-889f-9795828fa283" providerId="ADAL" clId="{58A2CF18-1E4F-D24B-9638-26BDEC581EC6}" dt="2023-10-20T03:17:58.596" v="348" actId="2696"/>
        <pc:sldMkLst>
          <pc:docMk/>
          <pc:sldMk cId="866636052" sldId="2147470749"/>
        </pc:sldMkLst>
      </pc:sldChg>
      <pc:sldChg chg="del">
        <pc:chgData name="Ben Stegink" userId="bba285e7-c67a-4500-889f-9795828fa283" providerId="ADAL" clId="{58A2CF18-1E4F-D24B-9638-26BDEC581EC6}" dt="2023-10-20T03:17:58.596" v="348" actId="2696"/>
        <pc:sldMkLst>
          <pc:docMk/>
          <pc:sldMk cId="2183045885" sldId="2147470750"/>
        </pc:sldMkLst>
      </pc:sldChg>
      <pc:sldChg chg="del">
        <pc:chgData name="Ben Stegink" userId="bba285e7-c67a-4500-889f-9795828fa283" providerId="ADAL" clId="{58A2CF18-1E4F-D24B-9638-26BDEC581EC6}" dt="2023-10-20T03:17:58.596" v="348" actId="2696"/>
        <pc:sldMkLst>
          <pc:docMk/>
          <pc:sldMk cId="3801252236" sldId="2147470751"/>
        </pc:sldMkLst>
      </pc:sldChg>
      <pc:sldChg chg="del">
        <pc:chgData name="Ben Stegink" userId="bba285e7-c67a-4500-889f-9795828fa283" providerId="ADAL" clId="{58A2CF18-1E4F-D24B-9638-26BDEC581EC6}" dt="2023-10-20T03:17:58.596" v="348" actId="2696"/>
        <pc:sldMkLst>
          <pc:docMk/>
          <pc:sldMk cId="2818615959" sldId="2147470752"/>
        </pc:sldMkLst>
      </pc:sldChg>
      <pc:sldChg chg="del">
        <pc:chgData name="Ben Stegink" userId="bba285e7-c67a-4500-889f-9795828fa283" providerId="ADAL" clId="{58A2CF18-1E4F-D24B-9638-26BDEC581EC6}" dt="2023-10-20T03:17:58.596" v="348" actId="2696"/>
        <pc:sldMkLst>
          <pc:docMk/>
          <pc:sldMk cId="682024280" sldId="2147470753"/>
        </pc:sldMkLst>
      </pc:sldChg>
      <pc:sldChg chg="del">
        <pc:chgData name="Ben Stegink" userId="bba285e7-c67a-4500-889f-9795828fa283" providerId="ADAL" clId="{58A2CF18-1E4F-D24B-9638-26BDEC581EC6}" dt="2023-10-20T03:17:58.596" v="348" actId="2696"/>
        <pc:sldMkLst>
          <pc:docMk/>
          <pc:sldMk cId="3980904212" sldId="2147470754"/>
        </pc:sldMkLst>
      </pc:sldChg>
      <pc:sldChg chg="del">
        <pc:chgData name="Ben Stegink" userId="bba285e7-c67a-4500-889f-9795828fa283" providerId="ADAL" clId="{58A2CF18-1E4F-D24B-9638-26BDEC581EC6}" dt="2023-10-20T03:17:58.596" v="348" actId="2696"/>
        <pc:sldMkLst>
          <pc:docMk/>
          <pc:sldMk cId="3568787343" sldId="2147470755"/>
        </pc:sldMkLst>
      </pc:sldChg>
      <pc:sldChg chg="del">
        <pc:chgData name="Ben Stegink" userId="bba285e7-c67a-4500-889f-9795828fa283" providerId="ADAL" clId="{58A2CF18-1E4F-D24B-9638-26BDEC581EC6}" dt="2023-10-20T03:17:58.596" v="348" actId="2696"/>
        <pc:sldMkLst>
          <pc:docMk/>
          <pc:sldMk cId="277218260" sldId="2147470756"/>
        </pc:sldMkLst>
      </pc:sldChg>
      <pc:sldChg chg="del">
        <pc:chgData name="Ben Stegink" userId="bba285e7-c67a-4500-889f-9795828fa283" providerId="ADAL" clId="{58A2CF18-1E4F-D24B-9638-26BDEC581EC6}" dt="2023-10-20T03:18:13.782" v="350" actId="2696"/>
        <pc:sldMkLst>
          <pc:docMk/>
          <pc:sldMk cId="2407215590" sldId="2147471582"/>
        </pc:sldMkLst>
      </pc:sldChg>
      <pc:sldChg chg="addSp modSp mod">
        <pc:chgData name="Ben Stegink" userId="bba285e7-c67a-4500-889f-9795828fa283" providerId="ADAL" clId="{58A2CF18-1E4F-D24B-9638-26BDEC581EC6}" dt="2023-10-20T02:59:18.519" v="5" actId="1076"/>
        <pc:sldMkLst>
          <pc:docMk/>
          <pc:sldMk cId="4263902161" sldId="2147471584"/>
        </pc:sldMkLst>
        <pc:picChg chg="add mod">
          <ac:chgData name="Ben Stegink" userId="bba285e7-c67a-4500-889f-9795828fa283" providerId="ADAL" clId="{58A2CF18-1E4F-D24B-9638-26BDEC581EC6}" dt="2023-10-20T02:59:18.519" v="5" actId="1076"/>
          <ac:picMkLst>
            <pc:docMk/>
            <pc:sldMk cId="4263902161" sldId="2147471584"/>
            <ac:picMk id="3" creationId="{9E3E1130-03CE-34E4-13E9-89339B18783A}"/>
          </ac:picMkLst>
        </pc:picChg>
      </pc:sldChg>
      <pc:sldChg chg="del">
        <pc:chgData name="Ben Stegink" userId="bba285e7-c67a-4500-889f-9795828fa283" providerId="ADAL" clId="{58A2CF18-1E4F-D24B-9638-26BDEC581EC6}" dt="2023-10-20T03:18:13.782" v="350" actId="2696"/>
        <pc:sldMkLst>
          <pc:docMk/>
          <pc:sldMk cId="1518959064" sldId="2147471585"/>
        </pc:sldMkLst>
      </pc:sldChg>
      <pc:sldChg chg="addSp delSp modSp mod">
        <pc:chgData name="Ben Stegink" userId="bba285e7-c67a-4500-889f-9795828fa283" providerId="ADAL" clId="{58A2CF18-1E4F-D24B-9638-26BDEC581EC6}" dt="2023-10-20T04:08:14.415" v="1603" actId="1076"/>
        <pc:sldMkLst>
          <pc:docMk/>
          <pc:sldMk cId="3207743784" sldId="2147471586"/>
        </pc:sldMkLst>
        <pc:spChg chg="del">
          <ac:chgData name="Ben Stegink" userId="bba285e7-c67a-4500-889f-9795828fa283" providerId="ADAL" clId="{58A2CF18-1E4F-D24B-9638-26BDEC581EC6}" dt="2023-10-20T03:19:57.429" v="382" actId="478"/>
          <ac:spMkLst>
            <pc:docMk/>
            <pc:sldMk cId="3207743784" sldId="2147471586"/>
            <ac:spMk id="24" creationId="{D35A8A92-F333-05E8-9837-3A4498B2C6DA}"/>
          </ac:spMkLst>
        </pc:spChg>
        <pc:spChg chg="mod">
          <ac:chgData name="Ben Stegink" userId="bba285e7-c67a-4500-889f-9795828fa283" providerId="ADAL" clId="{58A2CF18-1E4F-D24B-9638-26BDEC581EC6}" dt="2023-10-20T03:19:54.486" v="381" actId="20577"/>
          <ac:spMkLst>
            <pc:docMk/>
            <pc:sldMk cId="3207743784" sldId="2147471586"/>
            <ac:spMk id="57" creationId="{F5C8EB68-BB9C-5D58-6C6D-48DA703859CC}"/>
          </ac:spMkLst>
        </pc:spChg>
        <pc:picChg chg="del">
          <ac:chgData name="Ben Stegink" userId="bba285e7-c67a-4500-889f-9795828fa283" providerId="ADAL" clId="{58A2CF18-1E4F-D24B-9638-26BDEC581EC6}" dt="2023-10-20T03:53:56.534" v="1599" actId="478"/>
          <ac:picMkLst>
            <pc:docMk/>
            <pc:sldMk cId="3207743784" sldId="2147471586"/>
            <ac:picMk id="2" creationId="{6A00BD62-4FCB-2AC9-F0C1-7309A304CC90}"/>
          </ac:picMkLst>
        </pc:picChg>
        <pc:picChg chg="add mod">
          <ac:chgData name="Ben Stegink" userId="bba285e7-c67a-4500-889f-9795828fa283" providerId="ADAL" clId="{58A2CF18-1E4F-D24B-9638-26BDEC581EC6}" dt="2023-10-20T04:08:14.415" v="1603" actId="1076"/>
          <ac:picMkLst>
            <pc:docMk/>
            <pc:sldMk cId="3207743784" sldId="2147471586"/>
            <ac:picMk id="4" creationId="{542A1CF9-86F8-A65A-74A6-0A0C83D49966}"/>
          </ac:picMkLst>
        </pc:picChg>
      </pc:sldChg>
      <pc:sldChg chg="delSp modSp del mod">
        <pc:chgData name="Ben Stegink" userId="bba285e7-c67a-4500-889f-9795828fa283" providerId="ADAL" clId="{58A2CF18-1E4F-D24B-9638-26BDEC581EC6}" dt="2023-10-20T03:20:18.630" v="383" actId="2696"/>
        <pc:sldMkLst>
          <pc:docMk/>
          <pc:sldMk cId="4268183495" sldId="2147471587"/>
        </pc:sldMkLst>
        <pc:spChg chg="del">
          <ac:chgData name="Ben Stegink" userId="bba285e7-c67a-4500-889f-9795828fa283" providerId="ADAL" clId="{58A2CF18-1E4F-D24B-9638-26BDEC581EC6}" dt="2023-10-20T03:19:30.701" v="379" actId="478"/>
          <ac:spMkLst>
            <pc:docMk/>
            <pc:sldMk cId="4268183495" sldId="2147471587"/>
            <ac:spMk id="24" creationId="{D35A8A92-F333-05E8-9837-3A4498B2C6DA}"/>
          </ac:spMkLst>
        </pc:spChg>
        <pc:spChg chg="mod">
          <ac:chgData name="Ben Stegink" userId="bba285e7-c67a-4500-889f-9795828fa283" providerId="ADAL" clId="{58A2CF18-1E4F-D24B-9638-26BDEC581EC6}" dt="2023-10-20T03:19:26.780" v="378" actId="20577"/>
          <ac:spMkLst>
            <pc:docMk/>
            <pc:sldMk cId="4268183495" sldId="2147471587"/>
            <ac:spMk id="57" creationId="{F5C8EB68-BB9C-5D58-6C6D-48DA703859CC}"/>
          </ac:spMkLst>
        </pc:spChg>
      </pc:sldChg>
      <pc:sldChg chg="del">
        <pc:chgData name="Ben Stegink" userId="bba285e7-c67a-4500-889f-9795828fa283" providerId="ADAL" clId="{58A2CF18-1E4F-D24B-9638-26BDEC581EC6}" dt="2023-10-20T03:18:13.782" v="350" actId="2696"/>
        <pc:sldMkLst>
          <pc:docMk/>
          <pc:sldMk cId="3799918184" sldId="2147471589"/>
        </pc:sldMkLst>
      </pc:sldChg>
      <pc:sldChg chg="del">
        <pc:chgData name="Ben Stegink" userId="bba285e7-c67a-4500-889f-9795828fa283" providerId="ADAL" clId="{58A2CF18-1E4F-D24B-9638-26BDEC581EC6}" dt="2023-10-20T03:18:13.782" v="350" actId="2696"/>
        <pc:sldMkLst>
          <pc:docMk/>
          <pc:sldMk cId="295008037" sldId="2147471590"/>
        </pc:sldMkLst>
      </pc:sldChg>
      <pc:sldChg chg="del">
        <pc:chgData name="Ben Stegink" userId="bba285e7-c67a-4500-889f-9795828fa283" providerId="ADAL" clId="{58A2CF18-1E4F-D24B-9638-26BDEC581EC6}" dt="2023-10-20T03:18:13.782" v="350" actId="2696"/>
        <pc:sldMkLst>
          <pc:docMk/>
          <pc:sldMk cId="3256424954" sldId="2147471591"/>
        </pc:sldMkLst>
      </pc:sldChg>
      <pc:sldChg chg="del">
        <pc:chgData name="Ben Stegink" userId="bba285e7-c67a-4500-889f-9795828fa283" providerId="ADAL" clId="{58A2CF18-1E4F-D24B-9638-26BDEC581EC6}" dt="2023-10-20T03:18:19.232" v="351" actId="2696"/>
        <pc:sldMkLst>
          <pc:docMk/>
          <pc:sldMk cId="1455286307" sldId="2147471592"/>
        </pc:sldMkLst>
      </pc:sldChg>
      <pc:sldChg chg="del">
        <pc:chgData name="Ben Stegink" userId="bba285e7-c67a-4500-889f-9795828fa283" providerId="ADAL" clId="{58A2CF18-1E4F-D24B-9638-26BDEC581EC6}" dt="2023-10-20T03:18:26.183" v="352" actId="2696"/>
        <pc:sldMkLst>
          <pc:docMk/>
          <pc:sldMk cId="2536408824" sldId="2147471593"/>
        </pc:sldMkLst>
      </pc:sldChg>
      <pc:sldChg chg="del">
        <pc:chgData name="Ben Stegink" userId="bba285e7-c67a-4500-889f-9795828fa283" providerId="ADAL" clId="{58A2CF18-1E4F-D24B-9638-26BDEC581EC6}" dt="2023-10-20T03:18:26.183" v="352" actId="2696"/>
        <pc:sldMkLst>
          <pc:docMk/>
          <pc:sldMk cId="2241785269" sldId="2147471594"/>
        </pc:sldMkLst>
      </pc:sldChg>
      <pc:sldChg chg="del">
        <pc:chgData name="Ben Stegink" userId="bba285e7-c67a-4500-889f-9795828fa283" providerId="ADAL" clId="{58A2CF18-1E4F-D24B-9638-26BDEC581EC6}" dt="2023-10-20T03:18:26.183" v="352" actId="2696"/>
        <pc:sldMkLst>
          <pc:docMk/>
          <pc:sldMk cId="1665546163" sldId="2147471595"/>
        </pc:sldMkLst>
      </pc:sldChg>
      <pc:sldChg chg="del">
        <pc:chgData name="Ben Stegink" userId="bba285e7-c67a-4500-889f-9795828fa283" providerId="ADAL" clId="{58A2CF18-1E4F-D24B-9638-26BDEC581EC6}" dt="2023-10-20T03:18:26.183" v="352" actId="2696"/>
        <pc:sldMkLst>
          <pc:docMk/>
          <pc:sldMk cId="322398211" sldId="2147471596"/>
        </pc:sldMkLst>
      </pc:sldChg>
      <pc:sldChg chg="del">
        <pc:chgData name="Ben Stegink" userId="bba285e7-c67a-4500-889f-9795828fa283" providerId="ADAL" clId="{58A2CF18-1E4F-D24B-9638-26BDEC581EC6}" dt="2023-10-20T03:18:26.183" v="352" actId="2696"/>
        <pc:sldMkLst>
          <pc:docMk/>
          <pc:sldMk cId="1959291846" sldId="2147471597"/>
        </pc:sldMkLst>
      </pc:sldChg>
      <pc:sldChg chg="del">
        <pc:chgData name="Ben Stegink" userId="bba285e7-c67a-4500-889f-9795828fa283" providerId="ADAL" clId="{58A2CF18-1E4F-D24B-9638-26BDEC581EC6}" dt="2023-10-20T03:18:26.183" v="352" actId="2696"/>
        <pc:sldMkLst>
          <pc:docMk/>
          <pc:sldMk cId="2987211571" sldId="2147471598"/>
        </pc:sldMkLst>
      </pc:sldChg>
      <pc:sldChg chg="del">
        <pc:chgData name="Ben Stegink" userId="bba285e7-c67a-4500-889f-9795828fa283" providerId="ADAL" clId="{58A2CF18-1E4F-D24B-9638-26BDEC581EC6}" dt="2023-10-20T03:17:58.596" v="348" actId="2696"/>
        <pc:sldMkLst>
          <pc:docMk/>
          <pc:sldMk cId="302514898" sldId="214747160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10/19/23</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10/19/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kumimoji="0" lang="en-US" altLang="zh-CN" sz="12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Plan a Java application migration to Azure Spring Apps </a:t>
            </a:r>
            <a:r>
              <a:rPr lang="en-US" b="0" i="0" dirty="0">
                <a:solidFill>
                  <a:srgbClr val="000000"/>
                </a:solidFill>
                <a:effectLst/>
                <a:latin typeface="Times New Roman" panose="02020603050405020304" pitchFamily="18" charset="0"/>
              </a:rPr>
              <a:t>is the first lab is a series of nine labs spanning three days. </a:t>
            </a:r>
          </a:p>
          <a:p>
            <a:pPr algn="l"/>
            <a:endParaRPr lang="en-US" b="0" i="0" dirty="0">
              <a:solidFill>
                <a:srgbClr val="000000"/>
              </a:solidFill>
              <a:effectLst/>
              <a:latin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800" dirty="0">
                <a:solidFill>
                  <a:srgbClr val="000000"/>
                </a:solidFill>
                <a:effectLst/>
                <a:latin typeface="Segoe UI" panose="020B0502040204020203" pitchFamily="34" charset="0"/>
                <a:ea typeface="Calibri" panose="020F0502020204030204" pitchFamily="34" charset="0"/>
              </a:rPr>
              <a:t>This first lab is a mix of conceptual information and explanation the hands-on activities meant to set the stage for migrating apps, monitoring, and security.</a:t>
            </a:r>
            <a:endParaRPr lang="en-US" sz="1800" dirty="0">
              <a:solidFill>
                <a:srgbClr val="000000"/>
              </a:solidFill>
              <a:effectLst/>
              <a:latin typeface="Calibri" panose="020F0502020204030204" pitchFamily="34" charset="0"/>
              <a:ea typeface="Calibri" panose="020F0502020204030204" pitchFamily="34" charset="0"/>
            </a:endParaRPr>
          </a:p>
          <a:p>
            <a:pPr algn="l"/>
            <a:endParaRPr lang="en-US" b="0" i="0" dirty="0">
              <a:solidFill>
                <a:srgbClr val="000000"/>
              </a:solidFill>
              <a:effectLst/>
              <a:latin typeface="Times New Roman" panose="02020603050405020304" pitchFamily="18" charset="0"/>
            </a:endParaRPr>
          </a:p>
          <a:p>
            <a:pPr algn="l"/>
            <a:r>
              <a:rPr lang="en-US" b="1" i="0" dirty="0">
                <a:solidFill>
                  <a:srgbClr val="000000"/>
                </a:solidFill>
                <a:effectLst/>
                <a:latin typeface="Times New Roman" panose="02020603050405020304" pitchFamily="18" charset="0"/>
              </a:rPr>
              <a:t>Overview:</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b="0" i="0" dirty="0">
                <a:solidFill>
                  <a:srgbClr val="000000"/>
                </a:solidFill>
                <a:effectLst/>
                <a:latin typeface="Times New Roman" panose="02020603050405020304" pitchFamily="18" charset="0"/>
              </a:rPr>
              <a:t>Azure Spring Apps makes it easy to deploy Spring Boot applications to Azure without any code changes. The service manages the infrastructure of Spring Cloud applications so developers can focus on their code. Azure Spring Apps provides lifecycle management using comprehensive monitoring and diagnostics, configuration management, service discovery, and blue-green deployments.</a:t>
            </a:r>
            <a:endParaRPr lang="en-US" dirty="0"/>
          </a:p>
          <a:p>
            <a:pPr algn="l"/>
            <a:endParaRPr lang="en-US" b="0" i="0" dirty="0">
              <a:solidFill>
                <a:srgbClr val="000000"/>
              </a:solidFill>
              <a:effectLst/>
              <a:latin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rgbClr val="000000"/>
                </a:solidFill>
                <a:effectLst/>
                <a:latin typeface="Segoe UI" panose="020B0502040204020203" pitchFamily="34" charset="0"/>
                <a:ea typeface="Calibri" panose="020F0502020204030204" pitchFamily="34" charset="0"/>
              </a:rPr>
              <a:t>Encouraged students to share ideas, strategies, and what works with their fellow student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Segoe UI" panose="020B0502040204020203" pitchFamily="34" charset="0"/>
              <a:ea typeface="Calibri" panose="020F0502020204030204"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rgbClr val="000000"/>
                </a:solidFill>
                <a:effectLst/>
                <a:latin typeface="Segoe UI" panose="020B0502040204020203" pitchFamily="34" charset="0"/>
                <a:ea typeface="Calibri" panose="020F0502020204030204" pitchFamily="34" charset="0"/>
              </a:rPr>
              <a:t>Reinforce that the labs are mostly self-driven by the students and full of opportunities for </a:t>
            </a:r>
            <a:r>
              <a:rPr lang="en-US" sz="900" i="1" dirty="0">
                <a:solidFill>
                  <a:srgbClr val="000000"/>
                </a:solidFill>
                <a:effectLst/>
                <a:latin typeface="Segoe UI" panose="020B0502040204020203" pitchFamily="34" charset="0"/>
                <a:ea typeface="Calibri" panose="020F0502020204030204" pitchFamily="34" charset="0"/>
              </a:rPr>
              <a:t>students to help students</a:t>
            </a:r>
            <a:r>
              <a:rPr lang="en-US" sz="900" dirty="0">
                <a:solidFill>
                  <a:srgbClr val="000000"/>
                </a:solidFill>
                <a:effectLst/>
                <a:latin typeface="Segoe UI" panose="020B0502040204020203" pitchFamily="34" charset="0"/>
                <a:ea typeface="Calibri" panose="020F0502020204030204" pitchFamily="34" charset="0"/>
              </a:rPr>
              <a:t>. The team lead and coach’s role is to guide the students through the labs and assist them through setback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Segoe UI" panose="020B0502040204020203" pitchFamily="34" charset="0"/>
              <a:ea typeface="Calibri" panose="020F0502020204030204" pitchFamily="34" charset="0"/>
            </a:endParaRPr>
          </a:p>
          <a:p>
            <a:pPr algn="l"/>
            <a:r>
              <a:rPr lang="en-US" sz="900" dirty="0">
                <a:solidFill>
                  <a:srgbClr val="000000"/>
                </a:solidFill>
                <a:effectLst/>
                <a:latin typeface="Segoe UI" panose="020B0502040204020203" pitchFamily="34" charset="0"/>
                <a:ea typeface="Calibri" panose="020F0502020204030204" pitchFamily="34" charset="0"/>
              </a:rPr>
              <a:t>Perhaps review the </a:t>
            </a:r>
            <a:r>
              <a:rPr lang="en-US" sz="2000" b="1" i="0" dirty="0">
                <a:solidFill>
                  <a:srgbClr val="204262"/>
                </a:solidFill>
                <a:effectLst/>
                <a:latin typeface="Times New Roman" panose="02020603050405020304" pitchFamily="18" charset="0"/>
              </a:rPr>
              <a:t>Prerequisites</a:t>
            </a:r>
          </a:p>
          <a:p>
            <a:pPr marL="342900" indent="-342900" algn="l">
              <a:buFont typeface="Arial" panose="020B0604020202020204" pitchFamily="34" charset="0"/>
              <a:buChar char="•"/>
            </a:pPr>
            <a:r>
              <a:rPr lang="en-US" sz="2000" b="0" i="0" dirty="0">
                <a:solidFill>
                  <a:srgbClr val="000000"/>
                </a:solidFill>
                <a:effectLst/>
                <a:latin typeface="Times New Roman" panose="02020603050405020304" pitchFamily="18" charset="0"/>
              </a:rPr>
              <a:t>Intermediate-level familiarity with and local installations of the following tools: Git, Java JDK 8 or later, and a Java IDE or text editor.</a:t>
            </a:r>
          </a:p>
          <a:p>
            <a:pPr marL="342900" indent="-342900" algn="l">
              <a:buFont typeface="Arial" panose="020B0604020202020204" pitchFamily="34" charset="0"/>
              <a:buChar char="•"/>
            </a:pPr>
            <a:r>
              <a:rPr lang="en-US" sz="2000" b="0" i="0" dirty="0">
                <a:solidFill>
                  <a:srgbClr val="000000"/>
                </a:solidFill>
                <a:effectLst/>
                <a:latin typeface="Times New Roman" panose="02020603050405020304" pitchFamily="18" charset="0"/>
              </a:rPr>
              <a:t>Basic Git commands, including cloning, committing files, and pushing changes to GitHub.</a:t>
            </a:r>
          </a:p>
          <a:p>
            <a:pPr marL="342900" indent="-342900" algn="l">
              <a:buFont typeface="Arial" panose="020B0604020202020204" pitchFamily="34" charset="0"/>
              <a:buChar char="•"/>
            </a:pPr>
            <a:r>
              <a:rPr lang="en-US" sz="2000" b="0" i="0" dirty="0">
                <a:solidFill>
                  <a:srgbClr val="000000"/>
                </a:solidFill>
                <a:effectLst/>
                <a:latin typeface="Times New Roman" panose="02020603050405020304" pitchFamily="18" charset="0"/>
              </a:rPr>
              <a:t>Intermediate-level familiarity with Azur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use Application Insights, you either install a small instrumentation package (SDK) in your app, or enable Application Insights by using the Application Insights agent.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can instrument the web app, any background components, and the JavaScript in the web pages themselves. The app and its components don't have to be hosted in Azur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instrumentation monitors your app and directs the telemetry data to an Application Insights resource by using a unique instrumentation key.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can pull in telemetry like performance counters, Azure diagnostics, or Docker logs from host environments. All these telemetry streams are integrated into Azure Monitor.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diagram above shows how Application Insights instrumentation in an app sends telemetry to an Application Insights resour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Spring Apps Service uses an in-process Java Agent for Application Insights. When you initially created your service, an Application Insights resource was created for you by defaul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ll need to check whether an Application Insights instance is linked to your Spring Apps Service. If the instance isn't linked, then relink Application Insights. </a:t>
            </a: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Application Insights is configured, you can use the service to monitor what's happening in your application.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unit, you'll view the following items:</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The Application Map</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Performance data</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Failures</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Metrics</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Live Metrics</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Availability</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Log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o analyze monitoring data, do the procedur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323232"/>
                </a:solidFill>
                <a:effectLst/>
                <a:latin typeface="adobe-clean"/>
              </a:rPr>
              <a:t>Now that you’ve been collecting log data from your Spring Apps Service, your next step will be to query the log data. </a:t>
            </a:r>
          </a:p>
          <a:p>
            <a:pPr algn="l"/>
            <a:endParaRPr lang="en-US" b="0" i="0" dirty="0">
              <a:solidFill>
                <a:srgbClr val="323232"/>
              </a:solidFill>
              <a:effectLst/>
              <a:latin typeface="adobe-clean"/>
            </a:endParaRPr>
          </a:p>
          <a:p>
            <a:pPr algn="l"/>
            <a:r>
              <a:rPr lang="en-US" b="0" i="0" dirty="0">
                <a:solidFill>
                  <a:srgbClr val="323232"/>
                </a:solidFill>
                <a:effectLst/>
                <a:latin typeface="adobe-clean"/>
              </a:rPr>
              <a:t>In this section, you'll view the following entries:</a:t>
            </a:r>
          </a:p>
          <a:p>
            <a:pPr algn="l">
              <a:buFont typeface="Arial" panose="020B0604020202020204" pitchFamily="34" charset="0"/>
              <a:buNone/>
            </a:pPr>
            <a:r>
              <a:rPr lang="en-US" b="0" i="0" dirty="0">
                <a:solidFill>
                  <a:srgbClr val="323232"/>
                </a:solidFill>
                <a:effectLst/>
                <a:latin typeface="adobe-clean"/>
              </a:rPr>
              <a:t>Log entries containing errors or exceptions</a:t>
            </a:r>
          </a:p>
          <a:p>
            <a:pPr algn="l">
              <a:buFont typeface="Arial" panose="020B0604020202020204" pitchFamily="34" charset="0"/>
              <a:buNone/>
            </a:pPr>
            <a:r>
              <a:rPr lang="en-US" b="0" i="0" dirty="0">
                <a:solidFill>
                  <a:srgbClr val="323232"/>
                </a:solidFill>
                <a:effectLst/>
                <a:latin typeface="adobe-clean"/>
              </a:rPr>
              <a:t>Ingress log entries.</a:t>
            </a:r>
          </a:p>
          <a:p>
            <a:pPr algn="l">
              <a:buFont typeface="Arial" panose="020B0604020202020204" pitchFamily="34" charset="0"/>
              <a:buNone/>
            </a:pPr>
            <a:r>
              <a:rPr lang="en-US" b="0" i="0" dirty="0">
                <a:solidFill>
                  <a:srgbClr val="323232"/>
                </a:solidFill>
                <a:effectLst/>
                <a:latin typeface="adobe-clean"/>
              </a:rPr>
              <a:t>Container log entries</a:t>
            </a:r>
          </a:p>
          <a:p>
            <a:pPr algn="l"/>
            <a:endParaRPr lang="en-US" b="0" i="0" dirty="0">
              <a:solidFill>
                <a:srgbClr val="323232"/>
              </a:solidFill>
              <a:effectLst/>
              <a:latin typeface="adobe-clean"/>
            </a:endParaRPr>
          </a:p>
          <a:p>
            <a:pPr algn="l"/>
            <a:r>
              <a:rPr lang="en-US" b="0" i="0" dirty="0">
                <a:solidFill>
                  <a:srgbClr val="323232"/>
                </a:solidFill>
                <a:effectLst/>
                <a:latin typeface="adobe-clean"/>
              </a:rPr>
              <a:t>To view the log entries, do the following procedure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391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71541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e Challenges will focus on the following parts of the </a:t>
            </a:r>
            <a:r>
              <a:rPr lang="en-US" b="0" i="0" dirty="0" err="1">
                <a:effectLst/>
                <a:latin typeface="Segoe UI"/>
                <a:cs typeface="Segoe UI"/>
              </a:rPr>
              <a:t>Petclinic</a:t>
            </a:r>
            <a:r>
              <a:rPr lang="en-US" b="0" i="0" dirty="0">
                <a:effectLst/>
                <a:latin typeface="Segoe UI"/>
                <a:cs typeface="Segoe UI"/>
              </a:rPr>
              <a:t> solution: </a:t>
            </a:r>
            <a:r>
              <a:rPr kumimoji="0" lang="en-US" altLang="zh-CN" sz="1200" b="1" i="0" u="none" strike="noStrike" kern="1200" cap="none" spc="0" normalizeH="0" baseline="0" noProof="0" dirty="0">
                <a:ln>
                  <a:noFill/>
                </a:ln>
                <a:solidFill>
                  <a:schemeClr val="bg1"/>
                </a:solidFill>
                <a:effectLst/>
                <a:uLnTx/>
                <a:uFillTx/>
                <a:latin typeface="+mj-lt"/>
                <a:ea typeface="+mn-ea"/>
                <a:cs typeface="Segoe UI"/>
              </a:rPr>
              <a:t>Secure MySQL database and Key Vault using a</a:t>
            </a:r>
            <a:r>
              <a:rPr lang="en-US" altLang="zh-CN" sz="1200" b="1" spc="0" dirty="0">
                <a:ln>
                  <a:noFill/>
                </a:ln>
                <a:solidFill>
                  <a:schemeClr val="bg1"/>
                </a:solidFill>
                <a:latin typeface="+mj-lt"/>
                <a:cs typeface="Segoe UI"/>
              </a:rPr>
              <a:t> </a:t>
            </a:r>
            <a:r>
              <a:rPr lang="en-US" altLang="zh-CN" sz="1200" b="1" spc="0" dirty="0" err="1">
                <a:ln>
                  <a:noFill/>
                </a:ln>
                <a:solidFill>
                  <a:schemeClr val="bg1"/>
                </a:solidFill>
                <a:latin typeface="+mj-lt"/>
                <a:cs typeface="Segoe UI"/>
              </a:rPr>
              <a:t>VNet</a:t>
            </a:r>
            <a:r>
              <a:rPr lang="en-US" altLang="zh-CN" sz="1200" b="1" spc="0" dirty="0">
                <a:ln>
                  <a:noFill/>
                </a:ln>
                <a:solidFill>
                  <a:schemeClr val="bg1"/>
                </a:solidFill>
                <a:latin typeface="+mj-lt"/>
                <a:cs typeface="Segoe UI"/>
              </a:rPr>
              <a:t> and</a:t>
            </a:r>
            <a:r>
              <a:rPr kumimoji="0" lang="en-US" altLang="zh-CN" sz="1200" b="1" i="0" u="none" strike="noStrike" kern="1200" cap="none" spc="0" normalizeH="0" baseline="0" noProof="0" dirty="0">
                <a:ln>
                  <a:noFill/>
                </a:ln>
                <a:solidFill>
                  <a:schemeClr val="bg1"/>
                </a:solidFill>
                <a:effectLst/>
                <a:uLnTx/>
                <a:uFillTx/>
                <a:latin typeface="+mj-lt"/>
                <a:ea typeface="+mn-ea"/>
                <a:cs typeface="Segoe UI"/>
              </a:rPr>
              <a:t> Private Endpoint</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5688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effectLst/>
                <a:latin typeface="Calibri" panose="020F0502020204030204" pitchFamily="34" charset="0"/>
                <a:ea typeface="Calibri" panose="020F0502020204030204" pitchFamily="34" charset="0"/>
              </a:rPr>
              <a:t>Speaker notes:</a:t>
            </a:r>
          </a:p>
          <a:p>
            <a:pPr algn="l"/>
            <a:r>
              <a:rPr lang="en-US" b="0" i="0" dirty="0">
                <a:solidFill>
                  <a:srgbClr val="000000"/>
                </a:solidFill>
                <a:effectLst/>
                <a:latin typeface="Times New Roman" panose="02020603050405020304" pitchFamily="18" charset="0"/>
              </a:rPr>
              <a:t>You now have an Azure Spring Apps Enterprise application deployed into a virtual network. All incoming application connection requests from the internet must pass through an Application Gateway instance using a Web Application Firewall. The apps communicate with the backend services, such Azure Database for MySQL Single Server and Key Vault using public endpoint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lab, you'll implement a configuration where connections that originate from within your virtual network are accept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Lock down the Azure Database for MySQL Flexible Server instance by redeploying it in a subnet</a:t>
            </a:r>
          </a:p>
          <a:p>
            <a:pPr marL="171450" indent="-171450" algn="l">
              <a:buFont typeface="Arial" panose="020B0604020202020204" pitchFamily="34" charset="0"/>
              <a:buChar char="•"/>
            </a:pPr>
            <a:r>
              <a:rPr lang="en-US" b="0" i="0" dirty="0">
                <a:solidFill>
                  <a:srgbClr val="1F2328"/>
                </a:solidFill>
                <a:effectLst/>
                <a:latin typeface="-apple-system"/>
              </a:rPr>
              <a:t>Recreate the service connections to the new MySQL Flexible Server instance</a:t>
            </a:r>
          </a:p>
          <a:p>
            <a:pPr marL="171450" indent="-171450" algn="l">
              <a:buFont typeface="Arial" panose="020B0604020202020204" pitchFamily="34" charset="0"/>
              <a:buChar char="•"/>
            </a:pPr>
            <a:r>
              <a:rPr lang="en-US" b="0" i="0" dirty="0">
                <a:solidFill>
                  <a:srgbClr val="1F2328"/>
                </a:solidFill>
                <a:effectLst/>
                <a:latin typeface="-apple-system"/>
              </a:rPr>
              <a:t>Lock down the Key Vault instance by using a private endpoint</a:t>
            </a:r>
          </a:p>
          <a:p>
            <a:pPr marL="171450" indent="-171450" algn="l">
              <a:buFont typeface="Arial" panose="020B0604020202020204" pitchFamily="34" charset="0"/>
              <a:buChar char="•"/>
            </a:pPr>
            <a:r>
              <a:rPr lang="en-US" b="0" i="0" dirty="0">
                <a:solidFill>
                  <a:srgbClr val="1F2328"/>
                </a:solidFill>
                <a:effectLst/>
                <a:latin typeface="-apple-system"/>
              </a:rPr>
              <a:t>Test your setup</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6539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effectLst/>
                <a:latin typeface="Times New Roman" panose="02020603050405020304" pitchFamily="18" charset="0"/>
              </a:rPr>
              <a:t>Speaker not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algn="l"/>
            <a:r>
              <a:rPr kumimoji="0" lang="en-US" sz="1200" b="0" i="0" u="none" strike="noStrike" kern="1200" cap="none" spc="0" normalizeH="0" baseline="0" noProof="0" dirty="0">
                <a:ln>
                  <a:noFill/>
                </a:ln>
                <a:solidFill>
                  <a:srgbClr val="000000"/>
                </a:solidFill>
                <a:effectLst/>
                <a:uLnTx/>
                <a:uFillTx/>
                <a:latin typeface="Segoe UI "/>
                <a:ea typeface="+mn-ea"/>
                <a:cs typeface="+mn-cs"/>
              </a:rPr>
              <a:t>You’ll lock down access to your MySQL database by integrating it in your </a:t>
            </a:r>
            <a:r>
              <a:rPr kumimoji="0" lang="en-US" sz="1200" b="0" i="0" u="none" strike="noStrike" kern="1200" cap="none" spc="0" normalizeH="0" baseline="0" noProof="0" dirty="0" err="1">
                <a:ln>
                  <a:noFill/>
                </a:ln>
                <a:solidFill>
                  <a:srgbClr val="000000"/>
                </a:solidFill>
                <a:effectLst/>
                <a:uLnTx/>
                <a:uFillTx/>
                <a:latin typeface="Segoe UI "/>
                <a:ea typeface="+mn-ea"/>
                <a:cs typeface="+mn-cs"/>
              </a:rPr>
              <a:t>VNet</a:t>
            </a:r>
            <a:r>
              <a:rPr kumimoji="0" lang="en-US" sz="1200" b="0" i="0" u="none" strike="noStrike" kern="1200" cap="none" spc="0" normalizeH="0" baseline="0" noProof="0" dirty="0">
                <a:ln>
                  <a:noFill/>
                </a:ln>
                <a:solidFill>
                  <a:srgbClr val="000000"/>
                </a:solidFill>
                <a:effectLst/>
                <a:uLnTx/>
                <a:uFillTx/>
                <a:latin typeface="Segoe UI "/>
                <a:ea typeface="+mn-ea"/>
                <a:cs typeface="+mn-cs"/>
              </a:rPr>
              <a:t>.</a:t>
            </a:r>
            <a:endParaRPr lang="en-US" b="0" i="0" dirty="0">
              <a:solidFill>
                <a:srgbClr val="000000"/>
              </a:solidFill>
              <a:effectLst/>
              <a:latin typeface="Times New Roman" panose="02020603050405020304" pitchFamily="18" charset="0"/>
            </a:endParaRP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Virtual Network (</a:t>
            </a:r>
            <a:r>
              <a:rPr lang="en-US" b="0" i="0" dirty="0" err="1">
                <a:solidFill>
                  <a:srgbClr val="000000"/>
                </a:solidFill>
                <a:effectLst/>
                <a:latin typeface="Times New Roman" panose="02020603050405020304" pitchFamily="18" charset="0"/>
              </a:rPr>
              <a:t>VNet</a:t>
            </a:r>
            <a:r>
              <a:rPr lang="en-US" b="0" i="0" dirty="0">
                <a:solidFill>
                  <a:srgbClr val="000000"/>
                </a:solidFill>
                <a:effectLst/>
                <a:latin typeface="Times New Roman" panose="02020603050405020304" pitchFamily="18" charset="0"/>
              </a:rPr>
              <a:t>) integration for an Azure Database for MySQL - Flexible Server enables you to lock down access to the server to only your virtual network infrastructure. </a:t>
            </a:r>
          </a:p>
          <a:p>
            <a:pPr marL="171450" indent="-171450" algn="l">
              <a:buFont typeface="Arial" panose="020B0604020202020204" pitchFamily="34" charset="0"/>
              <a:buChar char="•"/>
            </a:pPr>
            <a:r>
              <a:rPr lang="en-US" b="0" i="0" dirty="0">
                <a:solidFill>
                  <a:srgbClr val="000000"/>
                </a:solidFill>
                <a:effectLst/>
                <a:latin typeface="Times New Roman" panose="02020603050405020304" pitchFamily="18" charset="0"/>
              </a:rPr>
              <a:t>Your </a:t>
            </a:r>
            <a:r>
              <a:rPr lang="en-US" b="0" i="0" dirty="0" err="1">
                <a:solidFill>
                  <a:srgbClr val="000000"/>
                </a:solidFill>
                <a:effectLst/>
                <a:latin typeface="Times New Roman" panose="02020603050405020304" pitchFamily="18" charset="0"/>
              </a:rPr>
              <a:t>VNet</a:t>
            </a:r>
            <a:r>
              <a:rPr lang="en-US" b="0" i="0" dirty="0">
                <a:solidFill>
                  <a:srgbClr val="000000"/>
                </a:solidFill>
                <a:effectLst/>
                <a:latin typeface="Times New Roman" panose="02020603050405020304" pitchFamily="18" charset="0"/>
              </a:rPr>
              <a:t> can include all your application and database resources in a single virtual network or may stretch across different </a:t>
            </a:r>
            <a:r>
              <a:rPr lang="en-US" b="0" i="0" dirty="0" err="1">
                <a:solidFill>
                  <a:srgbClr val="000000"/>
                </a:solidFill>
                <a:effectLst/>
                <a:latin typeface="Times New Roman" panose="02020603050405020304" pitchFamily="18" charset="0"/>
              </a:rPr>
              <a:t>VNets</a:t>
            </a:r>
            <a:r>
              <a:rPr lang="en-US" b="0" i="0" dirty="0">
                <a:solidFill>
                  <a:srgbClr val="000000"/>
                </a:solidFill>
                <a:effectLst/>
                <a:latin typeface="Times New Roman" panose="02020603050405020304" pitchFamily="18" charset="0"/>
              </a:rPr>
              <a:t> in the same region or a different region.</a:t>
            </a:r>
          </a:p>
          <a:p>
            <a:pPr algn="l"/>
            <a:endParaRPr lang="en-US" b="0" i="0" dirty="0">
              <a:solidFill>
                <a:srgbClr val="000000"/>
              </a:solidFill>
              <a:effectLst/>
              <a:latin typeface="Times New Roman" panose="02020603050405020304" pitchFamily="18" charset="0"/>
            </a:endParaRPr>
          </a:p>
          <a:p>
            <a:pPr marL="0" marR="0" lvl="0" indent="0" algn="l" defTabSz="914367"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Azure Database for MySQL - Flexible Server supports client connectivity from:</a:t>
            </a:r>
          </a:p>
          <a:p>
            <a:pPr marL="292100" lvl="1" indent="-179388" defTabSz="914367">
              <a:spcAft>
                <a:spcPts val="300"/>
              </a:spcAft>
              <a:buFont typeface="Arial" panose="020B0604020202020204" pitchFamily="34" charset="0"/>
              <a:buChar char="•"/>
              <a:defRPr/>
            </a:pPr>
            <a:r>
              <a:rPr lang="en-US" sz="1600" dirty="0">
                <a:solidFill>
                  <a:srgbClr val="000000"/>
                </a:solidFill>
                <a:latin typeface="Segoe UI "/>
              </a:rPr>
              <a:t>Virtual networks within the same Azure region. (locally peered </a:t>
            </a:r>
            <a:r>
              <a:rPr lang="en-US" sz="1600" dirty="0" err="1">
                <a:solidFill>
                  <a:srgbClr val="000000"/>
                </a:solidFill>
                <a:latin typeface="Segoe UI "/>
              </a:rPr>
              <a:t>VNets</a:t>
            </a:r>
            <a:r>
              <a:rPr lang="en-US" sz="1600" dirty="0">
                <a:solidFill>
                  <a:srgbClr val="000000"/>
                </a:solidFill>
                <a:latin typeface="Segoe UI "/>
              </a:rPr>
              <a:t>)</a:t>
            </a:r>
          </a:p>
          <a:p>
            <a:pPr marL="292100" lvl="1" indent="-179388" defTabSz="914367">
              <a:spcAft>
                <a:spcPts val="300"/>
              </a:spcAft>
              <a:buFont typeface="Arial" panose="020B0604020202020204" pitchFamily="34" charset="0"/>
              <a:buChar char="•"/>
              <a:defRPr/>
            </a:pPr>
            <a:r>
              <a:rPr lang="en-US" sz="1600" dirty="0">
                <a:solidFill>
                  <a:srgbClr val="000000"/>
                </a:solidFill>
                <a:latin typeface="Segoe UI "/>
              </a:rPr>
              <a:t>Virtual networks across Azure regions. (Global peered </a:t>
            </a:r>
            <a:r>
              <a:rPr lang="en-US" sz="1600" dirty="0" err="1">
                <a:solidFill>
                  <a:srgbClr val="000000"/>
                </a:solidFill>
                <a:latin typeface="Segoe UI "/>
              </a:rPr>
              <a:t>VNets</a:t>
            </a:r>
            <a:r>
              <a:rPr lang="en-US" sz="1600" dirty="0">
                <a:solidFill>
                  <a:srgbClr val="000000"/>
                </a:solidFill>
                <a:latin typeface="Segoe UI "/>
              </a:rPr>
              <a: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Subnets enable you to segment the virtual network into one or more subnetworks and allocate a portion of the virtual network's address space to which you can then deploy Azure resources. .</a:t>
            </a:r>
          </a:p>
          <a:p>
            <a:pPr algn="l"/>
            <a:endParaRPr lang="en-US" b="0" i="0" dirty="0">
              <a:solidFill>
                <a:srgbClr val="000000"/>
              </a:solidFill>
              <a:effectLst/>
              <a:latin typeface="Times New Roman" panose="02020603050405020304" pitchFamily="18" charset="0"/>
            </a:endParaRPr>
          </a:p>
          <a:p>
            <a:pPr algn="l"/>
            <a:r>
              <a:rPr kumimoji="0" lang="en-US" sz="1200" b="0" i="0" u="none" strike="noStrike" kern="1200" cap="none" spc="0" normalizeH="0" baseline="0" noProof="0" dirty="0">
                <a:ln>
                  <a:noFill/>
                </a:ln>
                <a:solidFill>
                  <a:srgbClr val="000000"/>
                </a:solidFill>
                <a:effectLst/>
                <a:uLnTx/>
                <a:uFillTx/>
                <a:latin typeface="Segoe UI "/>
                <a:ea typeface="+mn-ea"/>
                <a:cs typeface="+mn-cs"/>
              </a:rPr>
              <a:t>Once you’ve redeployed the MySQL in a subnet, you can block public access to your database.</a:t>
            </a: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78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i="0" dirty="0">
                <a:solidFill>
                  <a:srgbClr val="000000"/>
                </a:solidFill>
                <a:effectLst/>
                <a:latin typeface="Times New Roman" panose="02020603050405020304" pitchFamily="18" charset="0"/>
              </a:rPr>
              <a:t>Speaker notes:</a:t>
            </a:r>
          </a:p>
          <a:p>
            <a:pPr algn="l"/>
            <a:r>
              <a:rPr lang="en-US" sz="6600" b="0" i="0" dirty="0">
                <a:solidFill>
                  <a:srgbClr val="1F2328"/>
                </a:solidFill>
                <a:effectLst/>
                <a:latin typeface="-apple-system"/>
              </a:rPr>
              <a:t>As a next step you will need to recreate each of the service connections of the </a:t>
            </a:r>
            <a:r>
              <a:rPr lang="en-US" sz="6600" dirty="0"/>
              <a:t>customers</a:t>
            </a:r>
            <a:r>
              <a:rPr lang="en-US" sz="6600" b="0" i="0" dirty="0">
                <a:solidFill>
                  <a:srgbClr val="1F2328"/>
                </a:solidFill>
                <a:effectLst/>
                <a:latin typeface="-apple-system"/>
              </a:rPr>
              <a:t>, </a:t>
            </a:r>
            <a:r>
              <a:rPr lang="en-US" sz="6600" dirty="0"/>
              <a:t>visits</a:t>
            </a:r>
            <a:r>
              <a:rPr lang="en-US" sz="6600" b="0" i="0" dirty="0">
                <a:solidFill>
                  <a:srgbClr val="1F2328"/>
                </a:solidFill>
                <a:effectLst/>
                <a:latin typeface="-apple-system"/>
              </a:rPr>
              <a:t> and </a:t>
            </a:r>
            <a:r>
              <a:rPr lang="en-US" sz="6600" dirty="0"/>
              <a:t>vets</a:t>
            </a:r>
            <a:r>
              <a:rPr lang="en-US" sz="6600" b="0" i="0" dirty="0">
                <a:solidFill>
                  <a:srgbClr val="1F2328"/>
                </a:solidFill>
                <a:effectLst/>
                <a:latin typeface="-apple-system"/>
              </a:rPr>
              <a:t> services to the database. If you would try to do this from your git bash window, the creation of these will fail, since </a:t>
            </a:r>
            <a:r>
              <a:rPr lang="en-US" sz="6600" b="0" i="0" dirty="0" err="1">
                <a:solidFill>
                  <a:srgbClr val="1F2328"/>
                </a:solidFill>
                <a:effectLst/>
                <a:latin typeface="-apple-system"/>
              </a:rPr>
              <a:t>te</a:t>
            </a:r>
            <a:r>
              <a:rPr lang="en-US" sz="6600" b="0" i="0" dirty="0">
                <a:solidFill>
                  <a:srgbClr val="1F2328"/>
                </a:solidFill>
                <a:effectLst/>
                <a:latin typeface="-apple-system"/>
              </a:rPr>
              <a:t> statement needs to be executed from a prompt with network line of sight to your database server. </a:t>
            </a:r>
          </a:p>
          <a:p>
            <a:pPr algn="l"/>
            <a:endParaRPr lang="en-US" sz="6600" b="0" i="0" dirty="0">
              <a:solidFill>
                <a:srgbClr val="1F2328"/>
              </a:solidFill>
              <a:effectLst/>
              <a:latin typeface="-apple-system"/>
            </a:endParaRPr>
          </a:p>
          <a:p>
            <a:pPr algn="l"/>
            <a:r>
              <a:rPr lang="en-US" sz="6600" b="0" i="0" dirty="0">
                <a:solidFill>
                  <a:srgbClr val="1F2328"/>
                </a:solidFill>
                <a:effectLst/>
                <a:latin typeface="-apple-system"/>
              </a:rPr>
              <a:t>For your current git bash prompt that is not the case. </a:t>
            </a:r>
          </a:p>
          <a:p>
            <a:pPr algn="l"/>
            <a:endParaRPr lang="en-US" sz="6600" b="0" i="0" dirty="0">
              <a:solidFill>
                <a:srgbClr val="1F2328"/>
              </a:solidFill>
              <a:effectLst/>
              <a:latin typeface="-apple-system"/>
            </a:endParaRPr>
          </a:p>
          <a:p>
            <a:pPr algn="l"/>
            <a:r>
              <a:rPr lang="en-US" sz="6600" b="0" i="0" dirty="0">
                <a:solidFill>
                  <a:srgbClr val="1F2328"/>
                </a:solidFill>
                <a:effectLst/>
                <a:latin typeface="-apple-system"/>
              </a:rPr>
              <a:t>For executing these steps, you will be creating a </a:t>
            </a:r>
            <a:r>
              <a:rPr lang="en-US" sz="6600" b="0" i="0" dirty="0" err="1">
                <a:solidFill>
                  <a:srgbClr val="1F2328"/>
                </a:solidFill>
                <a:effectLst/>
                <a:latin typeface="-apple-system"/>
              </a:rPr>
              <a:t>jumpbox</a:t>
            </a:r>
            <a:r>
              <a:rPr lang="en-US" sz="6600" b="0" i="0" dirty="0">
                <a:solidFill>
                  <a:srgbClr val="1F2328"/>
                </a:solidFill>
                <a:effectLst/>
                <a:latin typeface="-apple-system"/>
              </a:rPr>
              <a:t> in the </a:t>
            </a:r>
            <a:r>
              <a:rPr lang="en-US" sz="6600" b="0" i="0" dirty="0" err="1">
                <a:solidFill>
                  <a:srgbClr val="1F2328"/>
                </a:solidFill>
                <a:effectLst/>
                <a:latin typeface="-apple-system"/>
              </a:rPr>
              <a:t>VNet</a:t>
            </a:r>
            <a:r>
              <a:rPr lang="en-US" sz="6600" b="0" i="0" dirty="0">
                <a:solidFill>
                  <a:srgbClr val="1F2328"/>
                </a:solidFill>
                <a:effectLst/>
                <a:latin typeface="-apple-system"/>
              </a:rPr>
              <a:t> and a bastion host for connecting to it. You can then execute the needed steps from the jump box.</a:t>
            </a:r>
            <a:endParaRPr lang="en-US" sz="4800"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24514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000000"/>
                </a:solidFill>
                <a:effectLst/>
                <a:latin typeface="Times New Roman" panose="02020603050405020304" pitchFamily="18" charset="0"/>
              </a:rPr>
              <a:t>Speaker not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algn="l"/>
            <a:r>
              <a:rPr lang="en-US" dirty="0"/>
              <a:t>Now that you've locked down the internet access to the MySQL database, you'll perform a similar setup to protect the Key Vault content.</a:t>
            </a:r>
          </a:p>
          <a:p>
            <a:pPr algn="l"/>
            <a:endParaRPr lang="en-US" dirty="0"/>
          </a:p>
          <a:p>
            <a:pPr marL="228600" indent="-228600">
              <a:spcAft>
                <a:spcPts val="1200"/>
              </a:spcAft>
              <a:buFont typeface="+mj-lt"/>
              <a:buAutoNum type="arabicPeriod"/>
            </a:pPr>
            <a:r>
              <a:rPr lang="en-US" dirty="0"/>
              <a:t>Create a private endpoint for the Key Vault instance.</a:t>
            </a:r>
          </a:p>
          <a:p>
            <a:pPr marL="228600" indent="-228600">
              <a:spcAft>
                <a:spcPts val="1200"/>
              </a:spcAft>
              <a:buFont typeface="+mj-lt"/>
              <a:buAutoNum type="arabicPeriod"/>
            </a:pPr>
            <a:r>
              <a:rPr lang="en-US" dirty="0"/>
              <a:t>Create a private DNS zone, this time for privatelink.vaultcore.azure.net.</a:t>
            </a:r>
          </a:p>
          <a:p>
            <a:pPr marL="228600" indent="-228600">
              <a:spcAft>
                <a:spcPts val="1200"/>
              </a:spcAft>
              <a:buFont typeface="+mj-lt"/>
              <a:buAutoNum type="arabicPeriod"/>
            </a:pPr>
            <a:r>
              <a:rPr lang="en-US" dirty="0"/>
              <a:t>Create the A record to link the Azure Key Vault instance name to the IP address of the private endpoint.</a:t>
            </a: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787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i="0" dirty="0">
                <a:solidFill>
                  <a:srgbClr val="000000"/>
                </a:solidFill>
                <a:effectLst/>
                <a:latin typeface="Times New Roman" panose="02020603050405020304" pitchFamily="18" charset="0"/>
              </a:rPr>
              <a:t>Speaker notes:</a:t>
            </a:r>
            <a:endParaRPr lang="en-US" sz="4800" dirty="0">
              <a:effectLst/>
              <a:latin typeface="Calibri" panose="020F0502020204030204" pitchFamily="34" charset="0"/>
              <a:ea typeface="Calibri" panose="020F0502020204030204" pitchFamily="34" charset="0"/>
              <a:cs typeface="Times New Roman" panose="02020603050405020304" pitchFamily="18" charset="0"/>
            </a:endParaRPr>
          </a:p>
          <a:p>
            <a:pPr algn="l"/>
            <a:r>
              <a:rPr lang="en-US" sz="4800" b="0" i="0" dirty="0">
                <a:solidFill>
                  <a:srgbClr val="000000"/>
                </a:solidFill>
                <a:effectLst/>
                <a:latin typeface="Times New Roman" panose="02020603050405020304" pitchFamily="18" charset="0"/>
              </a:rPr>
              <a:t>As the final step of this exercise, you should once again test your setup. </a:t>
            </a:r>
          </a:p>
          <a:p>
            <a:pPr algn="l"/>
            <a:endParaRPr lang="en-US" sz="4800" b="0" i="0" dirty="0">
              <a:solidFill>
                <a:srgbClr val="000000"/>
              </a:solidFill>
              <a:effectLst/>
              <a:latin typeface="Times New Roman" panose="02020603050405020304" pitchFamily="18" charset="0"/>
            </a:endParaRPr>
          </a:p>
          <a:p>
            <a:pPr algn="l"/>
            <a:r>
              <a:rPr lang="en-US" sz="4800" b="0" i="0" dirty="0">
                <a:solidFill>
                  <a:srgbClr val="000000"/>
                </a:solidFill>
                <a:effectLst/>
                <a:latin typeface="Times New Roman" panose="02020603050405020304" pitchFamily="18" charset="0"/>
              </a:rPr>
              <a:t>You should still be able to navigate to your application through the custom domain that you configured on your Application Gateway and view the listing of owners and veterinarians.</a:t>
            </a:r>
          </a:p>
          <a:p>
            <a:pPr algn="l"/>
            <a:endParaRPr lang="en-US" sz="4800" b="0" i="0" dirty="0">
              <a:solidFill>
                <a:srgbClr val="000000"/>
              </a:solidFill>
              <a:effectLst/>
              <a:latin typeface="Times New Roman" panose="02020603050405020304" pitchFamily="18" charset="0"/>
            </a:endParaRPr>
          </a:p>
          <a:p>
            <a:pPr algn="l"/>
            <a:r>
              <a:rPr lang="en-US" sz="4800" b="0" i="0" dirty="0">
                <a:solidFill>
                  <a:srgbClr val="000000"/>
                </a:solidFill>
                <a:effectLst/>
                <a:latin typeface="Times New Roman" panose="02020603050405020304" pitchFamily="18" charset="0"/>
              </a:rPr>
              <a:t>If you don't see any data when navigating the menu options in the application, try redeploying the customers, visits and vets' apps again to Azure Spring Apps Enterpris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632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effectLst/>
                <a:latin typeface="Segoe UI"/>
                <a:cs typeface="Segoe UI"/>
              </a:rPr>
              <a:t>The Challenges will focus on the following parts of the </a:t>
            </a:r>
            <a:r>
              <a:rPr lang="en-US" b="0" i="0" err="1">
                <a:effectLst/>
                <a:latin typeface="Segoe UI"/>
                <a:cs typeface="Segoe UI"/>
              </a:rPr>
              <a:t>Petclinic</a:t>
            </a:r>
            <a:r>
              <a:rPr lang="en-US" b="0" i="0">
                <a:effectLst/>
                <a:latin typeface="Segoe UI"/>
                <a:cs typeface="Segoe UI"/>
              </a:rPr>
              <a:t> solution:</a:t>
            </a:r>
            <a:endParaRPr lang="en-US" b="0" i="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
                <a:ea typeface="+mn-ea"/>
                <a:cs typeface="+mn-cs"/>
              </a:rPr>
              <a:t>Challenge 02: </a:t>
            </a:r>
            <a:r>
              <a:rPr lang="en-US">
                <a:solidFill>
                  <a:srgbClr val="FFFFFF"/>
                </a:solidFill>
                <a:latin typeface="Segoe UI "/>
              </a:rPr>
              <a:t>Migrate a Spring Apps microservices application to Azure Kubernetes Service</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Segoe UI"/>
                <a:ea typeface="Calibri" panose="020F0502020204030204" pitchFamily="34" charset="0"/>
                <a:cs typeface="Segoe UI"/>
              </a:rPr>
              <a:t>Speaker notes:</a:t>
            </a:r>
            <a:endParaRPr lang="en-US" sz="1200" b="0" i="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a:solidFill>
                  <a:srgbClr val="000000"/>
                </a:solidFill>
                <a:effectLst/>
                <a:latin typeface="Times New Roman" panose="02020603050405020304" pitchFamily="18" charset="0"/>
              </a:rPr>
              <a:t>In the previous lab, you established a plan for migrating the Spring </a:t>
            </a:r>
            <a:r>
              <a:rPr lang="en-US" b="0" i="0" err="1">
                <a:solidFill>
                  <a:srgbClr val="000000"/>
                </a:solidFill>
                <a:effectLst/>
                <a:latin typeface="Times New Roman" panose="02020603050405020304" pitchFamily="18" charset="0"/>
              </a:rPr>
              <a:t>Petclinic</a:t>
            </a:r>
            <a:r>
              <a:rPr lang="en-US" b="0" i="0">
                <a:solidFill>
                  <a:srgbClr val="000000"/>
                </a:solidFill>
                <a:effectLst/>
                <a:latin typeface="Times New Roman" panose="02020603050405020304" pitchFamily="18" charset="0"/>
              </a:rPr>
              <a:t> application to the Azure platform. It's now time to perform the actual migration of the first Spring </a:t>
            </a:r>
            <a:r>
              <a:rPr lang="en-US" b="0" i="0" err="1">
                <a:solidFill>
                  <a:srgbClr val="000000"/>
                </a:solidFill>
                <a:effectLst/>
                <a:latin typeface="Times New Roman" panose="02020603050405020304" pitchFamily="18" charset="0"/>
              </a:rPr>
              <a:t>Petclinic</a:t>
            </a:r>
            <a:r>
              <a:rPr lang="en-US" b="0" i="0">
                <a:solidFill>
                  <a:srgbClr val="000000"/>
                </a:solidFill>
                <a:effectLst/>
                <a:latin typeface="Times New Roman" panose="02020603050405020304" pitchFamily="18" charset="0"/>
              </a:rPr>
              <a:t> components.</a:t>
            </a:r>
          </a:p>
          <a:p>
            <a:pPr algn="l"/>
            <a:endParaRPr lang="en-US" b="0" i="0">
              <a:solidFill>
                <a:srgbClr val="000000"/>
              </a:solidFill>
              <a:effectLst/>
              <a:latin typeface="Times New Roman" panose="02020603050405020304" pitchFamily="18" charset="0"/>
            </a:endParaRPr>
          </a:p>
          <a:p>
            <a:pPr algn="l"/>
            <a:r>
              <a:rPr lang="en-US" b="0" i="0">
                <a:solidFill>
                  <a:srgbClr val="000000"/>
                </a:solidFill>
                <a:effectLst/>
                <a:latin typeface="Times New Roman" panose="02020603050405020304" pitchFamily="18" charset="0"/>
              </a:rPr>
              <a:t>The Spring Cloud service provides a config server for your sample apps to use.</a:t>
            </a:r>
          </a:p>
          <a:p>
            <a:pPr algn="l"/>
            <a:endParaRPr lang="en-US" b="0" i="0">
              <a:solidFill>
                <a:srgbClr val="000000"/>
              </a:solidFill>
              <a:effectLst/>
              <a:latin typeface="Times New Roman" panose="02020603050405020304" pitchFamily="18" charset="0"/>
            </a:endParaRPr>
          </a:p>
          <a:p>
            <a:pPr algn="l"/>
            <a:r>
              <a:rPr lang="en-US" b="0" i="0">
                <a:solidFill>
                  <a:srgbClr val="000000"/>
                </a:solidFill>
                <a:effectLst/>
                <a:latin typeface="Times New Roman" panose="02020603050405020304" pitchFamily="18" charset="0"/>
              </a:rPr>
              <a:t>In this lab, you'll begin by creating a Git repo. After you've created the Git repo, you'll create a config server for your Spring Cloud instance to connect to your Git repo. You'll then create a MySQL database service. After the MySQL database service in place, you can deploy the microservices to the Azure Spring Apps service. Lastly, you'll test the application through a publicly available endpoint to make sure everything is working. </a:t>
            </a:r>
          </a:p>
          <a:p>
            <a:pPr algn="l"/>
            <a:endParaRPr lang="en-US" b="1" i="0">
              <a:solidFill>
                <a:srgbClr val="204262"/>
              </a:solidFill>
              <a:effectLst/>
              <a:latin typeface="Times New Roman" panose="02020603050405020304" pitchFamily="18" charset="0"/>
            </a:endParaRPr>
          </a:p>
          <a:p>
            <a:pPr algn="l"/>
            <a:r>
              <a:rPr lang="en-US" b="1" i="0">
                <a:solidFill>
                  <a:srgbClr val="204262"/>
                </a:solidFill>
                <a:effectLst/>
                <a:latin typeface="Times New Roman" panose="02020603050405020304" pitchFamily="18" charset="0"/>
              </a:rPr>
              <a:t>Learning objectives</a:t>
            </a:r>
          </a:p>
          <a:p>
            <a:pPr algn="l"/>
            <a:r>
              <a:rPr lang="en-US" b="0" i="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a:solidFill>
                  <a:srgbClr val="1F2328"/>
                </a:solidFill>
                <a:effectLst/>
                <a:latin typeface="-apple-system"/>
              </a:rPr>
              <a:t>Create an Azure Spring Apps Enterprise service</a:t>
            </a:r>
          </a:p>
          <a:p>
            <a:pPr marL="171450" indent="-171450" algn="l">
              <a:buFont typeface="Arial" panose="020B0604020202020204" pitchFamily="34" charset="0"/>
              <a:buChar char="•"/>
            </a:pPr>
            <a:r>
              <a:rPr lang="en-US" b="0" i="0">
                <a:solidFill>
                  <a:srgbClr val="1F2328"/>
                </a:solidFill>
                <a:effectLst/>
                <a:latin typeface="-apple-system"/>
              </a:rPr>
              <a:t>Set up the config repository</a:t>
            </a:r>
          </a:p>
          <a:p>
            <a:pPr marL="171450" indent="-171450" algn="l">
              <a:buFont typeface="Arial" panose="020B0604020202020204" pitchFamily="34" charset="0"/>
              <a:buChar char="•"/>
            </a:pPr>
            <a:r>
              <a:rPr lang="en-US" b="0" i="0">
                <a:solidFill>
                  <a:srgbClr val="1F2328"/>
                </a:solidFill>
                <a:effectLst/>
                <a:latin typeface="-apple-system"/>
              </a:rPr>
              <a:t>Set up the Application Configuration Service for Azure Spring Apps Enterprise</a:t>
            </a:r>
          </a:p>
          <a:p>
            <a:pPr marL="171450" indent="-171450" algn="l">
              <a:buFont typeface="Arial" panose="020B0604020202020204" pitchFamily="34" charset="0"/>
              <a:buChar char="•"/>
            </a:pPr>
            <a:r>
              <a:rPr lang="en-US" b="0" i="0">
                <a:solidFill>
                  <a:srgbClr val="1F2328"/>
                </a:solidFill>
                <a:effectLst/>
                <a:latin typeface="-apple-system"/>
              </a:rPr>
              <a:t>Create an Azure MySQL Database service</a:t>
            </a:r>
          </a:p>
          <a:p>
            <a:pPr marL="171450" indent="-171450" algn="l">
              <a:buFont typeface="Arial" panose="020B0604020202020204" pitchFamily="34" charset="0"/>
              <a:buChar char="•"/>
            </a:pPr>
            <a:r>
              <a:rPr lang="en-US" b="0" i="0">
                <a:solidFill>
                  <a:srgbClr val="1F2328"/>
                </a:solidFill>
                <a:effectLst/>
                <a:latin typeface="-apple-system"/>
              </a:rPr>
              <a:t>Deploy the Spring </a:t>
            </a:r>
            <a:r>
              <a:rPr lang="en-US" b="0" i="0" err="1">
                <a:solidFill>
                  <a:srgbClr val="1F2328"/>
                </a:solidFill>
                <a:effectLst/>
                <a:latin typeface="-apple-system"/>
              </a:rPr>
              <a:t>Petclinic</a:t>
            </a:r>
            <a:r>
              <a:rPr lang="en-US" b="0" i="0">
                <a:solidFill>
                  <a:srgbClr val="1F2328"/>
                </a:solidFill>
                <a:effectLst/>
                <a:latin typeface="-apple-system"/>
              </a:rPr>
              <a:t> app components to the Spring Apps service</a:t>
            </a:r>
          </a:p>
          <a:p>
            <a:pPr marL="171450" indent="-171450" algn="l">
              <a:buFont typeface="Arial" panose="020B0604020202020204" pitchFamily="34" charset="0"/>
              <a:buChar char="•"/>
            </a:pPr>
            <a:r>
              <a:rPr lang="en-US" b="0" i="0">
                <a:solidFill>
                  <a:srgbClr val="1F2328"/>
                </a:solidFill>
                <a:effectLst/>
                <a:latin typeface="-apple-system"/>
              </a:rPr>
              <a:t>Provide a publicly available endpoints for the Spring </a:t>
            </a:r>
            <a:r>
              <a:rPr lang="en-US" b="0" i="0" err="1">
                <a:solidFill>
                  <a:srgbClr val="1F2328"/>
                </a:solidFill>
                <a:effectLst/>
                <a:latin typeface="-apple-system"/>
              </a:rPr>
              <a:t>Petclinic</a:t>
            </a:r>
            <a:r>
              <a:rPr lang="en-US" b="0" i="0">
                <a:solidFill>
                  <a:srgbClr val="1F2328"/>
                </a:solidFill>
                <a:effectLst/>
                <a:latin typeface="-apple-system"/>
              </a:rPr>
              <a:t> application</a:t>
            </a:r>
          </a:p>
          <a:p>
            <a:pPr marL="171450" indent="-171450" algn="l">
              <a:buFont typeface="Arial" panose="020B0604020202020204" pitchFamily="34" charset="0"/>
              <a:buChar char="•"/>
            </a:pPr>
            <a:r>
              <a:rPr lang="en-US" b="0" i="0">
                <a:solidFill>
                  <a:srgbClr val="1F2328"/>
                </a:solidFill>
                <a:effectLst/>
                <a:latin typeface="-apple-system"/>
              </a:rPr>
              <a:t>Test the application through the publicly available endpoint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Spring Apps is a platform as a service (PaaS) for Spring developers. Manage the lifecycle of your Spring Boot applications with comprehensive monitoring and diagnostics, configuration management, service discovery, CI/CD integration, and blue-green deployments.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Use the procedures to deploy an instance of Azure Spring App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e Challenges will focus on the following parts of the </a:t>
            </a:r>
            <a:r>
              <a:rPr lang="en-US" b="0" i="0" dirty="0" err="1">
                <a:effectLst/>
                <a:latin typeface="Segoe UI"/>
                <a:cs typeface="Segoe UI"/>
              </a:rPr>
              <a:t>Petclinic</a:t>
            </a:r>
            <a:r>
              <a:rPr lang="en-US" b="0" i="0" dirty="0">
                <a:effectLst/>
                <a:latin typeface="Segoe UI"/>
                <a:cs typeface="Segoe UI"/>
              </a:rPr>
              <a:t> solution: </a:t>
            </a:r>
            <a:r>
              <a:rPr kumimoji="0" lang="en-US" altLang="zh-CN" sz="12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Enable monitoring and end-to-end tracing</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your first Spring Apps service, installed your microservices as applications, and exposed them through the </a:t>
            </a:r>
            <a:r>
              <a:rPr lang="en-US" b="1" i="0" dirty="0" err="1">
                <a:solidFill>
                  <a:srgbClr val="000000"/>
                </a:solidFill>
                <a:effectLst/>
                <a:latin typeface="Times New Roman" panose="02020603050405020304" pitchFamily="18" charset="0"/>
              </a:rPr>
              <a:t>api</a:t>
            </a:r>
            <a:r>
              <a:rPr lang="en-US" b="1" i="0" dirty="0">
                <a:solidFill>
                  <a:srgbClr val="000000"/>
                </a:solidFill>
                <a:effectLst/>
                <a:latin typeface="Times New Roman" panose="02020603050405020304" pitchFamily="18" charset="0"/>
              </a:rPr>
              <a:t>-gateway</a:t>
            </a:r>
            <a:r>
              <a:rPr lang="en-US" b="0" i="0" dirty="0">
                <a:solidFill>
                  <a:srgbClr val="000000"/>
                </a:solidFill>
                <a:effectLst/>
                <a:latin typeface="Times New Roman" panose="02020603050405020304" pitchFamily="18" charset="0"/>
              </a:rPr>
              <a:t>.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Now that everything is up and running, it would be beneficial to monitor your applications availability. Monitoring helps you determine if there are errors or exceptions within your applications.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challenge, you'll add end-to-end monitoring to your application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Live stream the logs from your apps</a:t>
            </a:r>
          </a:p>
          <a:p>
            <a:pPr marL="171450" indent="-171450" algn="l">
              <a:buFont typeface="Arial" panose="020B0604020202020204" pitchFamily="34" charset="0"/>
              <a:buChar char="•"/>
            </a:pPr>
            <a:r>
              <a:rPr lang="en-US" b="0" i="0" dirty="0">
                <a:solidFill>
                  <a:srgbClr val="1F2328"/>
                </a:solidFill>
                <a:effectLst/>
                <a:latin typeface="-apple-system"/>
              </a:rPr>
              <a:t>Configure Application Insights to receive monitoring information from your apps</a:t>
            </a:r>
          </a:p>
          <a:p>
            <a:pPr marL="171450" indent="-171450" algn="l">
              <a:buFont typeface="Arial" panose="020B0604020202020204" pitchFamily="34" charset="0"/>
              <a:buChar char="•"/>
            </a:pPr>
            <a:r>
              <a:rPr lang="en-US" b="0" i="0" dirty="0">
                <a:solidFill>
                  <a:srgbClr val="1F2328"/>
                </a:solidFill>
                <a:effectLst/>
                <a:latin typeface="-apple-system"/>
              </a:rPr>
              <a:t>Analyze app-specific monitoring data</a:t>
            </a:r>
          </a:p>
          <a:p>
            <a:pPr marL="171450" indent="-171450" algn="l">
              <a:buFont typeface="Arial" panose="020B0604020202020204" pitchFamily="34" charset="0"/>
              <a:buChar char="•"/>
            </a:pPr>
            <a:r>
              <a:rPr lang="en-US" b="0" i="0" dirty="0">
                <a:solidFill>
                  <a:srgbClr val="1F2328"/>
                </a:solidFill>
                <a:effectLst/>
                <a:latin typeface="-apple-system"/>
              </a:rPr>
              <a:t>Configure diagnostics settings</a:t>
            </a:r>
          </a:p>
          <a:p>
            <a:pPr marL="171450" indent="-171450" algn="l">
              <a:buFont typeface="Arial" panose="020B0604020202020204" pitchFamily="34" charset="0"/>
              <a:buChar char="•"/>
            </a:pPr>
            <a:r>
              <a:rPr lang="en-US" b="0" i="0" dirty="0">
                <a:solidFill>
                  <a:srgbClr val="1F2328"/>
                </a:solidFill>
                <a:effectLst/>
                <a:latin typeface="-apple-system"/>
              </a:rPr>
              <a:t>Analyze log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Spring Apps enables log streaming using Azure CLI to get real-time application console logs for troubleshooting.</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ll live stream the logs of the </a:t>
            </a:r>
            <a:r>
              <a:rPr lang="en-US" b="1" i="0" dirty="0">
                <a:solidFill>
                  <a:srgbClr val="000000"/>
                </a:solidFill>
                <a:effectLst/>
                <a:latin typeface="Times New Roman" panose="02020603050405020304" pitchFamily="18" charset="0"/>
              </a:rPr>
              <a:t>customer</a:t>
            </a:r>
            <a:r>
              <a:rPr lang="en-US" b="0" i="0" dirty="0">
                <a:solidFill>
                  <a:srgbClr val="000000"/>
                </a:solidFill>
                <a:effectLst/>
                <a:latin typeface="Times New Roman" panose="02020603050405020304" pitchFamily="18" charset="0"/>
              </a:rPr>
              <a:t> and the </a:t>
            </a:r>
            <a:r>
              <a:rPr lang="en-US" b="1" i="0" dirty="0">
                <a:solidFill>
                  <a:srgbClr val="000000"/>
                </a:solidFill>
                <a:effectLst/>
                <a:latin typeface="Times New Roman" panose="02020603050405020304" pitchFamily="18" charset="0"/>
              </a:rPr>
              <a:t>visits </a:t>
            </a:r>
            <a:r>
              <a:rPr lang="en-US" b="0" i="0" dirty="0">
                <a:solidFill>
                  <a:srgbClr val="000000"/>
                </a:solidFill>
                <a:effectLst/>
                <a:latin typeface="Times New Roman" panose="02020603050405020304" pitchFamily="18" charset="0"/>
              </a:rPr>
              <a:t>services. </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o live stream the logs for the</a:t>
            </a:r>
            <a:r>
              <a:rPr lang="en-US" b="1" i="0" dirty="0">
                <a:solidFill>
                  <a:srgbClr val="000000"/>
                </a:solidFill>
                <a:effectLst/>
                <a:latin typeface="Times New Roman" panose="02020603050405020304" pitchFamily="18" charset="0"/>
              </a:rPr>
              <a:t> customer</a:t>
            </a:r>
            <a:r>
              <a:rPr lang="en-US" b="0" i="0" dirty="0">
                <a:solidFill>
                  <a:srgbClr val="000000"/>
                </a:solidFill>
                <a:effectLst/>
                <a:latin typeface="Times New Roman" panose="02020603050405020304" pitchFamily="18" charset="0"/>
              </a:rPr>
              <a:t> service, use the following statements:</a:t>
            </a:r>
          </a:p>
          <a:p>
            <a:pPr algn="l"/>
            <a:r>
              <a:rPr lang="en-US" dirty="0" err="1"/>
              <a:t>az</a:t>
            </a:r>
            <a:r>
              <a:rPr lang="en-US" dirty="0"/>
              <a:t> spring app logs \ --name customer-service \ --resource-group $RESOURCE_GROUP \ --service $SPRING_APPS_SERVICE –follow</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action above will stream the </a:t>
            </a:r>
            <a:r>
              <a:rPr lang="en-US" b="1" i="0" dirty="0">
                <a:solidFill>
                  <a:srgbClr val="000000"/>
                </a:solidFill>
                <a:effectLst/>
                <a:latin typeface="Times New Roman" panose="02020603050405020304" pitchFamily="18" charset="0"/>
              </a:rPr>
              <a:t>customer</a:t>
            </a:r>
            <a:r>
              <a:rPr lang="en-US" b="0" i="0" dirty="0">
                <a:solidFill>
                  <a:srgbClr val="000000"/>
                </a:solidFill>
                <a:effectLst/>
                <a:latin typeface="Times New Roman" panose="02020603050405020304" pitchFamily="18" charset="0"/>
              </a:rPr>
              <a:t> service app logs to your console.</a:t>
            </a:r>
            <a:br>
              <a:rPr lang="en-US" b="0" i="0" dirty="0">
                <a:solidFill>
                  <a:srgbClr val="000000"/>
                </a:solidFill>
                <a:effectLst/>
                <a:latin typeface="Times New Roman" panose="02020603050405020304" pitchFamily="18" charset="0"/>
              </a:rPr>
            </a:br>
            <a:endParaRPr lang="en-US" b="0" i="0" dirty="0">
              <a:solidFill>
                <a:srgbClr val="000000"/>
              </a:solidFill>
              <a:effectLst/>
              <a:latin typeface="Times New Roman" panose="02020603050405020304" pitchFamily="18" charset="0"/>
            </a:endParaRPr>
          </a:p>
          <a:p>
            <a:pPr algn="l">
              <a:buFont typeface="+mj-lt"/>
              <a:buAutoNum type="arabicPeriod"/>
            </a:pPr>
            <a:r>
              <a:rPr lang="en-US" b="0" i="0" dirty="0">
                <a:solidFill>
                  <a:srgbClr val="000000"/>
                </a:solidFill>
                <a:effectLst/>
                <a:latin typeface="Times New Roman" panose="02020603050405020304" pitchFamily="18" charset="0"/>
              </a:rPr>
              <a:t>Switch to the web browser displaying the Spring Petclinic application and navigate throughout the interface. Notice that your actions trigger display of new log entries in the console output.</a:t>
            </a:r>
          </a:p>
          <a:p>
            <a:pPr algn="l">
              <a:buFont typeface="+mj-lt"/>
              <a:buAutoNum type="arabicPeriod"/>
            </a:pPr>
            <a:r>
              <a:rPr lang="en-US" b="0" i="0" dirty="0">
                <a:solidFill>
                  <a:srgbClr val="000000"/>
                </a:solidFill>
                <a:effectLst/>
                <a:latin typeface="Times New Roman" panose="02020603050405020304" pitchFamily="18" charset="0"/>
              </a:rPr>
              <a:t>Enter </a:t>
            </a:r>
            <a:r>
              <a:rPr lang="en-US" b="1" i="0" dirty="0" err="1">
                <a:solidFill>
                  <a:srgbClr val="000000"/>
                </a:solidFill>
                <a:effectLst/>
                <a:latin typeface="Times New Roman" panose="02020603050405020304" pitchFamily="18" charset="0"/>
              </a:rPr>
              <a:t>Ctrl+c</a:t>
            </a:r>
            <a:r>
              <a:rPr lang="en-US" b="0" i="0" dirty="0">
                <a:solidFill>
                  <a:srgbClr val="000000"/>
                </a:solidFill>
                <a:effectLst/>
                <a:latin typeface="Times New Roman" panose="02020603050405020304" pitchFamily="18" charset="0"/>
              </a:rPr>
              <a:t> to stop streaming the log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D4D5F-30A2-6FCE-48FE-123068F974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6325D49-E316-FC45-5365-618BFEB65D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62DE3CE4-C2A7-FB95-5138-7B6350AF8D69}"/>
              </a:ext>
            </a:extLst>
          </p:cNvPr>
          <p:cNvSpPr>
            <a:spLocks noGrp="1"/>
          </p:cNvSpPr>
          <p:nvPr>
            <p:ph type="ftr" sz="quarter" idx="10"/>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20804F98-2A1A-E6E9-380E-97A8D3322A94}"/>
              </a:ext>
            </a:extLst>
          </p:cNvPr>
          <p:cNvSpPr>
            <a:spLocks noGrp="1"/>
          </p:cNvSpPr>
          <p:nvPr>
            <p:ph type="sldNum" sz="quarter" idx="11"/>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0834816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3"/>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sldLayoutIdLst>
    <p:sldLayoutId id="2147484045" r:id="rId1"/>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6.xml"/><Relationship Id="rId5" Type="http://schemas.openxmlformats.org/officeDocument/2006/relationships/image" Target="../media/image15.pn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22.xml"/><Relationship Id="rId4" Type="http://schemas.openxmlformats.org/officeDocument/2006/relationships/image" Target="../media/image17.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DevOps practices to accelerate developer productivity</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430887"/>
          </a:xfrm>
        </p:spPr>
        <p:txBody>
          <a:bodyPr/>
          <a:lstStyle/>
          <a:p>
            <a:r>
              <a:rPr lang="en-IN" dirty="0"/>
              <a:t>Setup a security policy for a GitHub Repo</a:t>
            </a:r>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write your own security</a:t>
            </a:r>
            <a:r>
              <a:rPr lang="en-US" sz="1600" dirty="0">
                <a:solidFill>
                  <a:srgbClr val="000000"/>
                </a:solidFill>
                <a:latin typeface="Segoe UI "/>
              </a:rPr>
              <a:t>y policy in Markdown and place it into the repo to be surfaced in the security tab.</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security policy enables you to inform those accessing the repo about the security policy as well as how to handle any security issues or vulnerabilities.</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857A2E73-F358-BACE-3AF3-D284BC097814}"/>
              </a:ext>
            </a:extLst>
          </p:cNvPr>
          <p:cNvPicPr>
            <a:picLocks noChangeAspect="1"/>
          </p:cNvPicPr>
          <p:nvPr/>
        </p:nvPicPr>
        <p:blipFill>
          <a:blip r:embed="rId4"/>
          <a:stretch>
            <a:fillRect/>
          </a:stretch>
        </p:blipFill>
        <p:spPr>
          <a:xfrm>
            <a:off x="4312239" y="1835016"/>
            <a:ext cx="7198561" cy="4103527"/>
          </a:xfrm>
          <a:prstGeom prst="rect">
            <a:avLst/>
          </a:prstGeom>
        </p:spPr>
      </p:pic>
    </p:spTree>
    <p:custDataLst>
      <p:tags r:id="rId1"/>
    </p:custDataLst>
    <p:extLst>
      <p:ext uri="{BB962C8B-B14F-4D97-AF65-F5344CB8AC3E}">
        <p14:creationId xmlns:p14="http://schemas.microsoft.com/office/powerpoint/2010/main" val="41497603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ode security and analysi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With code security and analysis, you can look for vulnerabilities. For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CodeQL</a:t>
            </a:r>
            <a:r>
              <a:rPr kumimoji="0" lang="en-US" sz="1800" b="0" i="0" u="none" strike="noStrike" kern="1200" cap="none" spc="0" normalizeH="0" baseline="0" noProof="0" dirty="0">
                <a:ln>
                  <a:noFill/>
                </a:ln>
                <a:solidFill>
                  <a:srgbClr val="000000"/>
                </a:solidFill>
                <a:effectLst/>
                <a:uLnTx/>
                <a:uFillTx/>
                <a:latin typeface="Segoe UI "/>
                <a:ea typeface="+mn-ea"/>
                <a:cs typeface="+mn-cs"/>
              </a:rPr>
              <a:t> the repo must be public. </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ll </a:t>
            </a:r>
            <a:r>
              <a:rPr lang="en-US" sz="1600" b="1" dirty="0">
                <a:solidFill>
                  <a:srgbClr val="3B2E58"/>
                </a:solidFill>
                <a:latin typeface="Segoe UI "/>
              </a:rPr>
              <a:t>enable</a:t>
            </a:r>
            <a:r>
              <a:rPr kumimoji="0" lang="en-US" sz="1600" b="1" i="0" u="none" strike="noStrike" kern="1200" cap="none" spc="0" normalizeH="0" baseline="0" noProof="0" dirty="0">
                <a:ln>
                  <a:noFill/>
                </a:ln>
                <a:solidFill>
                  <a:srgbClr val="3B2E58"/>
                </a:solidFill>
                <a:effectLst/>
                <a:uLnTx/>
                <a:uFillTx/>
                <a:latin typeface="Segoe UI "/>
                <a:ea typeface="+mn-ea"/>
                <a:cs typeface="+mn-cs"/>
              </a:rPr>
              <a:t> the following item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err="1">
                <a:solidFill>
                  <a:srgbClr val="000000"/>
                </a:solidFill>
                <a:latin typeface="Segoe UI "/>
              </a:rPr>
              <a:t>Dependabot</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err="1">
                <a:ln>
                  <a:noFill/>
                </a:ln>
                <a:solidFill>
                  <a:srgbClr val="000000"/>
                </a:solidFill>
                <a:effectLst/>
                <a:uLnTx/>
                <a:uFillTx/>
                <a:latin typeface="Segoe UI "/>
                <a:ea typeface="+mn-ea"/>
                <a:cs typeface="+mn-cs"/>
              </a:rPr>
              <a:t>CodeQ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4" name="Picture 3">
            <a:extLst>
              <a:ext uri="{FF2B5EF4-FFF2-40B4-BE49-F238E27FC236}">
                <a16:creationId xmlns:a16="http://schemas.microsoft.com/office/drawing/2014/main" id="{1E5EA668-965F-2627-D35B-7697E4C1DFDB}"/>
              </a:ext>
            </a:extLst>
          </p:cNvPr>
          <p:cNvPicPr>
            <a:picLocks noChangeAspect="1"/>
          </p:cNvPicPr>
          <p:nvPr/>
        </p:nvPicPr>
        <p:blipFill>
          <a:blip r:embed="rId4"/>
          <a:stretch>
            <a:fillRect/>
          </a:stretch>
        </p:blipFill>
        <p:spPr>
          <a:xfrm>
            <a:off x="5675009" y="2575188"/>
            <a:ext cx="4483838" cy="3668594"/>
          </a:xfrm>
          <a:prstGeom prst="rect">
            <a:avLst/>
          </a:prstGeom>
        </p:spPr>
      </p:pic>
      <p:pic>
        <p:nvPicPr>
          <p:cNvPr id="24" name="Picture 23">
            <a:extLst>
              <a:ext uri="{FF2B5EF4-FFF2-40B4-BE49-F238E27FC236}">
                <a16:creationId xmlns:a16="http://schemas.microsoft.com/office/drawing/2014/main" id="{F8741977-4B8A-8466-0662-0421767D7D8B}"/>
              </a:ext>
            </a:extLst>
          </p:cNvPr>
          <p:cNvPicPr>
            <a:picLocks noChangeAspect="1"/>
          </p:cNvPicPr>
          <p:nvPr/>
        </p:nvPicPr>
        <p:blipFill>
          <a:blip r:embed="rId5"/>
          <a:stretch>
            <a:fillRect/>
          </a:stretch>
        </p:blipFill>
        <p:spPr>
          <a:xfrm>
            <a:off x="588263" y="4582559"/>
            <a:ext cx="4735945" cy="1479252"/>
          </a:xfrm>
          <a:prstGeom prst="rect">
            <a:avLst/>
          </a:prstGeom>
        </p:spPr>
      </p:pic>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Monitor the Application</a:t>
            </a:r>
          </a:p>
        </p:txBody>
      </p:sp>
      <p:sp>
        <p:nvSpPr>
          <p:cNvPr id="5" name="Rectangle: Top Corners Rounded 4">
            <a:extLst>
              <a:ext uri="{FF2B5EF4-FFF2-40B4-BE49-F238E27FC236}">
                <a16:creationId xmlns:a16="http://schemas.microsoft.com/office/drawing/2014/main" id="{9CF50F0E-D78F-91C1-241A-15B3F2EE3F8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8" name="TextBox 7">
            <a:extLst>
              <a:ext uri="{FF2B5EF4-FFF2-40B4-BE49-F238E27FC236}">
                <a16:creationId xmlns:a16="http://schemas.microsoft.com/office/drawing/2014/main" id="{AC5E09B0-16D5-5146-DA3B-A3F284FEF559}"/>
              </a:ext>
            </a:extLst>
          </p:cNvPr>
          <p:cNvSpPr txBox="1"/>
          <p:nvPr/>
        </p:nvSpPr>
        <p:spPr>
          <a:xfrm>
            <a:off x="588264" y="1079291"/>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With the data from the application being logged to Log Analytics, you can create dashboards and monitoring.</a:t>
            </a:r>
          </a:p>
        </p:txBody>
      </p:sp>
      <p:sp>
        <p:nvSpPr>
          <p:cNvPr id="26" name="Rectangle 25">
            <a:extLst>
              <a:ext uri="{FF2B5EF4-FFF2-40B4-BE49-F238E27FC236}">
                <a16:creationId xmlns:a16="http://schemas.microsoft.com/office/drawing/2014/main" id="{D64F9C50-717A-130C-58E3-C62C6C6C7356}"/>
              </a:ext>
              <a:ext uri="{C183D7F6-B498-43B3-948B-1728B52AA6E4}">
                <adec:decorative xmlns:adec="http://schemas.microsoft.com/office/drawing/2017/decorative" val="1"/>
              </a:ext>
            </a:extLst>
          </p:cNvPr>
          <p:cNvSpPr/>
          <p:nvPr/>
        </p:nvSpPr>
        <p:spPr bwMode="auto">
          <a:xfrm>
            <a:off x="0" y="2223263"/>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sp>
        <p:nvSpPr>
          <p:cNvPr id="27" name="TextBox 26">
            <a:extLst>
              <a:ext uri="{FF2B5EF4-FFF2-40B4-BE49-F238E27FC236}">
                <a16:creationId xmlns:a16="http://schemas.microsoft.com/office/drawing/2014/main" id="{5364CE28-477F-9033-F6E4-8D0CBEC648AA}"/>
              </a:ext>
            </a:extLst>
          </p:cNvPr>
          <p:cNvSpPr txBox="1"/>
          <p:nvPr/>
        </p:nvSpPr>
        <p:spPr>
          <a:xfrm>
            <a:off x="588264" y="2486362"/>
            <a:ext cx="4065502" cy="55399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section, you’ll </a:t>
            </a:r>
            <a:r>
              <a:rPr lang="en-US" dirty="0">
                <a:solidFill>
                  <a:srgbClr val="000000"/>
                </a:solidFill>
                <a:latin typeface="Segoe UI "/>
              </a:rPr>
              <a:t>work with app insight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8" name="TextBox 27">
            <a:extLst>
              <a:ext uri="{FF2B5EF4-FFF2-40B4-BE49-F238E27FC236}">
                <a16:creationId xmlns:a16="http://schemas.microsoft.com/office/drawing/2014/main" id="{C1F44AB8-0831-637B-170F-2BD6E75B459C}"/>
              </a:ext>
            </a:extLst>
          </p:cNvPr>
          <p:cNvSpPr txBox="1"/>
          <p:nvPr/>
        </p:nvSpPr>
        <p:spPr>
          <a:xfrm>
            <a:off x="997934" y="3327063"/>
            <a:ext cx="3802569"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Customize the App Insights Dashboard</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9" name="TextBox 28">
            <a:extLst>
              <a:ext uri="{FF2B5EF4-FFF2-40B4-BE49-F238E27FC236}">
                <a16:creationId xmlns:a16="http://schemas.microsoft.com/office/drawing/2014/main" id="{57033263-8835-551D-5F70-93803C8437F2}"/>
              </a:ext>
            </a:extLst>
          </p:cNvPr>
          <p:cNvSpPr txBox="1"/>
          <p:nvPr/>
        </p:nvSpPr>
        <p:spPr>
          <a:xfrm>
            <a:off x="997934" y="37651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Setup availability monitoring</a:t>
            </a:r>
          </a:p>
        </p:txBody>
      </p:sp>
      <p:sp>
        <p:nvSpPr>
          <p:cNvPr id="30" name="TextBox 29">
            <a:extLst>
              <a:ext uri="{FF2B5EF4-FFF2-40B4-BE49-F238E27FC236}">
                <a16:creationId xmlns:a16="http://schemas.microsoft.com/office/drawing/2014/main" id="{E4DB80F4-4368-E864-60D6-5DC336E0BA1F}"/>
              </a:ext>
            </a:extLst>
          </p:cNvPr>
          <p:cNvSpPr txBox="1"/>
          <p:nvPr/>
        </p:nvSpPr>
        <p:spPr>
          <a:xfrm>
            <a:off x="1007459" y="42032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View a</a:t>
            </a:r>
            <a:r>
              <a:rPr lang="en-US" sz="1600" dirty="0" err="1">
                <a:solidFill>
                  <a:srgbClr val="000000"/>
                </a:solidFill>
                <a:latin typeface="Segoe UI "/>
              </a:rPr>
              <a:t>vailability</a:t>
            </a:r>
            <a:r>
              <a:rPr lang="en-US" sz="1600" dirty="0">
                <a:solidFill>
                  <a:srgbClr val="000000"/>
                </a:solidFill>
                <a:latin typeface="Segoe UI "/>
              </a:rPr>
              <a:t> alert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31" name="Freeform: Shape 11">
            <a:extLst>
              <a:ext uri="{FF2B5EF4-FFF2-40B4-BE49-F238E27FC236}">
                <a16:creationId xmlns:a16="http://schemas.microsoft.com/office/drawing/2014/main" id="{7B1E4382-BB52-C342-AC12-7482E5174BA2}"/>
              </a:ext>
            </a:extLst>
          </p:cNvPr>
          <p:cNvSpPr>
            <a:spLocks/>
          </p:cNvSpPr>
          <p:nvPr/>
        </p:nvSpPr>
        <p:spPr bwMode="auto">
          <a:xfrm>
            <a:off x="687811" y="3842979"/>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F611E6AF-EFAB-2DA0-414D-5FBEB581CEC5}"/>
              </a:ext>
            </a:extLst>
          </p:cNvPr>
          <p:cNvSpPr>
            <a:spLocks/>
          </p:cNvSpPr>
          <p:nvPr/>
        </p:nvSpPr>
        <p:spPr bwMode="auto">
          <a:xfrm>
            <a:off x="686213" y="3414215"/>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Freeform: Shape 11">
            <a:extLst>
              <a:ext uri="{FF2B5EF4-FFF2-40B4-BE49-F238E27FC236}">
                <a16:creationId xmlns:a16="http://schemas.microsoft.com/office/drawing/2014/main" id="{ED7E149B-2FD5-F082-04D2-FDAF191B09BE}"/>
              </a:ext>
            </a:extLst>
          </p:cNvPr>
          <p:cNvSpPr>
            <a:spLocks/>
          </p:cNvSpPr>
          <p:nvPr/>
        </p:nvSpPr>
        <p:spPr bwMode="auto">
          <a:xfrm>
            <a:off x="687811" y="428430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pic>
        <p:nvPicPr>
          <p:cNvPr id="3" name="Picture 2">
            <a:extLst>
              <a:ext uri="{FF2B5EF4-FFF2-40B4-BE49-F238E27FC236}">
                <a16:creationId xmlns:a16="http://schemas.microsoft.com/office/drawing/2014/main" id="{1EDF51EC-AC64-93C7-1038-9249695798EF}"/>
              </a:ext>
            </a:extLst>
          </p:cNvPr>
          <p:cNvPicPr>
            <a:picLocks noChangeAspect="1"/>
          </p:cNvPicPr>
          <p:nvPr/>
        </p:nvPicPr>
        <p:blipFill>
          <a:blip r:embed="rId4"/>
          <a:stretch>
            <a:fillRect/>
          </a:stretch>
        </p:blipFill>
        <p:spPr>
          <a:xfrm>
            <a:off x="5403617" y="2061524"/>
            <a:ext cx="5417934" cy="3407278"/>
          </a:xfrm>
          <a:prstGeom prst="rect">
            <a:avLst/>
          </a:prstGeom>
        </p:spPr>
      </p:pic>
      <p:pic>
        <p:nvPicPr>
          <p:cNvPr id="4" name="Picture 3">
            <a:extLst>
              <a:ext uri="{FF2B5EF4-FFF2-40B4-BE49-F238E27FC236}">
                <a16:creationId xmlns:a16="http://schemas.microsoft.com/office/drawing/2014/main" id="{D916E4F3-6BDC-CFF2-423B-D64B50BC1463}"/>
              </a:ext>
            </a:extLst>
          </p:cNvPr>
          <p:cNvPicPr>
            <a:picLocks noChangeAspect="1"/>
          </p:cNvPicPr>
          <p:nvPr/>
        </p:nvPicPr>
        <p:blipFill>
          <a:blip r:embed="rId5"/>
          <a:stretch>
            <a:fillRect/>
          </a:stretch>
        </p:blipFill>
        <p:spPr>
          <a:xfrm>
            <a:off x="8239587" y="4011384"/>
            <a:ext cx="3691467" cy="1842390"/>
          </a:xfrm>
          <a:prstGeom prst="rect">
            <a:avLst/>
          </a:prstGeom>
        </p:spPr>
      </p:pic>
    </p:spTree>
    <p:custDataLst>
      <p:tags r:id="rId1"/>
    </p:custDataLst>
    <p:extLst>
      <p:ext uri="{BB962C8B-B14F-4D97-AF65-F5344CB8AC3E}">
        <p14:creationId xmlns:p14="http://schemas.microsoft.com/office/powerpoint/2010/main" val="19303798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91BC80-8533-F9BF-478C-6A92442E73B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buSzPct val="90000"/>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a:rPr>
              <a:t>Secure MySQL database and Key Vault using a</a:t>
            </a:r>
            <a:r>
              <a:rPr lang="en-US" altLang="zh-CN" sz="4800" b="1" spc="0" dirty="0">
                <a:ln>
                  <a:noFill/>
                </a:ln>
                <a:solidFill>
                  <a:schemeClr val="bg1"/>
                </a:solidFill>
                <a:latin typeface="+mj-lt"/>
                <a:cs typeface="Segoe UI"/>
              </a:rPr>
              <a:t> VNet and</a:t>
            </a:r>
            <a:r>
              <a:rPr kumimoji="0" lang="en-US" altLang="zh-CN" sz="4800" b="1" i="0" u="none" strike="noStrike" kern="1200" cap="none" spc="0" normalizeH="0" baseline="0" noProof="0" dirty="0">
                <a:ln>
                  <a:noFill/>
                </a:ln>
                <a:solidFill>
                  <a:schemeClr val="bg1"/>
                </a:solidFill>
                <a:effectLst/>
                <a:uLnTx/>
                <a:uFillTx/>
                <a:latin typeface="+mj-lt"/>
                <a:ea typeface="+mn-ea"/>
                <a:cs typeface="Segoe UI"/>
              </a:rPr>
              <a:t> Private Endpoint</a:t>
            </a:r>
          </a:p>
        </p:txBody>
      </p:sp>
      <p:sp>
        <p:nvSpPr>
          <p:cNvPr id="3" name="Text Placeholder 2">
            <a:extLst>
              <a:ext uri="{FF2B5EF4-FFF2-40B4-BE49-F238E27FC236}">
                <a16:creationId xmlns:a16="http://schemas.microsoft.com/office/drawing/2014/main" id="{B5541CF1-B05B-E241-7533-87CB5B7142C5}"/>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6002312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9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a:t>Petclinic application architecture</a:t>
            </a:r>
            <a:endParaRPr lang="en-US"/>
          </a:p>
        </p:txBody>
      </p:sp>
      <p:pic>
        <p:nvPicPr>
          <p:cNvPr id="6146" name="Picture 2" descr="Diagram: illustrates the end state of the Petclinic application architecture after this lab.&#10;&#10;It shows the recreation of the service connections to the new MySQL Flexible Server instance.">
            <a:extLst>
              <a:ext uri="{FF2B5EF4-FFF2-40B4-BE49-F238E27FC236}">
                <a16:creationId xmlns:a16="http://schemas.microsoft.com/office/drawing/2014/main" id="{13C942D8-E218-C8EC-83AB-7F3BC89344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3480" y="1424098"/>
            <a:ext cx="11018520" cy="448775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1920647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963" y="241420"/>
            <a:ext cx="11017250" cy="861774"/>
          </a:xfrm>
        </p:spPr>
        <p:txBody>
          <a:bodyPr vert="horz" wrap="square" lIns="0" tIns="0" rIns="0" bIns="0" rtlCol="0" anchor="ctr">
            <a:spAutoFit/>
          </a:bodyPr>
          <a:lstStyle/>
          <a:p>
            <a:r>
              <a:rPr lang="en-US" dirty="0"/>
              <a:t>Introduction: Secure MySQL database and Key Vault using a </a:t>
            </a:r>
            <a:br>
              <a:rPr lang="en-US" dirty="0"/>
            </a:br>
            <a:r>
              <a:rPr lang="en-US" dirty="0"/>
              <a:t>Private Endpoint</a:t>
            </a:r>
          </a:p>
        </p:txBody>
      </p:sp>
      <p:grpSp>
        <p:nvGrpSpPr>
          <p:cNvPr id="7" name="Group 6">
            <a:extLst>
              <a:ext uri="{FF2B5EF4-FFF2-40B4-BE49-F238E27FC236}">
                <a16:creationId xmlns:a16="http://schemas.microsoft.com/office/drawing/2014/main" id="{A4242579-AF30-D1B8-0C44-E93DC49BAA16}"/>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8" name="Freeform: Shape 7">
              <a:extLst>
                <a:ext uri="{FF2B5EF4-FFF2-40B4-BE49-F238E27FC236}">
                  <a16:creationId xmlns:a16="http://schemas.microsoft.com/office/drawing/2014/main" id="{05143C9D-8208-6C75-B87C-815B17F9F77E}"/>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 name="Group 9">
              <a:extLst>
                <a:ext uri="{FF2B5EF4-FFF2-40B4-BE49-F238E27FC236}">
                  <a16:creationId xmlns:a16="http://schemas.microsoft.com/office/drawing/2014/main" id="{2AFB5B05-1409-D08A-68C3-7843BD1CECF6}"/>
                </a:ext>
              </a:extLst>
            </p:cNvPr>
            <p:cNvGrpSpPr/>
            <p:nvPr/>
          </p:nvGrpSpPr>
          <p:grpSpPr>
            <a:xfrm>
              <a:off x="10973730" y="344238"/>
              <a:ext cx="386420" cy="386420"/>
              <a:chOff x="10338730" y="326866"/>
              <a:chExt cx="753110" cy="753110"/>
            </a:xfrm>
          </p:grpSpPr>
          <p:sp>
            <p:nvSpPr>
              <p:cNvPr id="11" name="Oval 10">
                <a:extLst>
                  <a:ext uri="{FF2B5EF4-FFF2-40B4-BE49-F238E27FC236}">
                    <a16:creationId xmlns:a16="http://schemas.microsoft.com/office/drawing/2014/main" id="{2937CA3B-91BB-6EBE-0F4B-6FD406300FE7}"/>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 name="Graphic 160">
                <a:extLst>
                  <a:ext uri="{FF2B5EF4-FFF2-40B4-BE49-F238E27FC236}">
                    <a16:creationId xmlns:a16="http://schemas.microsoft.com/office/drawing/2014/main" id="{91172AF5-0F7C-82D8-27E7-299FE1F7788B}"/>
                  </a:ext>
                </a:extLst>
              </p:cNvPr>
              <p:cNvGrpSpPr/>
              <p:nvPr/>
            </p:nvGrpSpPr>
            <p:grpSpPr>
              <a:xfrm>
                <a:off x="10537246" y="449420"/>
                <a:ext cx="356078" cy="508002"/>
                <a:chOff x="7053892" y="4608173"/>
                <a:chExt cx="402719" cy="574549"/>
              </a:xfrm>
              <a:noFill/>
            </p:grpSpPr>
            <p:sp>
              <p:nvSpPr>
                <p:cNvPr id="13" name="Freeform: Shape 12">
                  <a:extLst>
                    <a:ext uri="{FF2B5EF4-FFF2-40B4-BE49-F238E27FC236}">
                      <a16:creationId xmlns:a16="http://schemas.microsoft.com/office/drawing/2014/main" id="{716CA59A-E7A7-F3FF-DA86-E276C5B064BC}"/>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2A887A19-D2AB-369C-8D56-36D043B876AE}"/>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9248F874-CA46-24A3-0F62-8A0678896714}"/>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4B0D1E94-B56D-49B5-EAA5-A6EF16F972B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61728BCB-1481-CE8F-A0AA-E4DC42CA4C3D}"/>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Shape 17">
                  <a:extLst>
                    <a:ext uri="{FF2B5EF4-FFF2-40B4-BE49-F238E27FC236}">
                      <a16:creationId xmlns:a16="http://schemas.microsoft.com/office/drawing/2014/main" id="{86CF9924-05C4-CAE5-8FBE-DC6045F74929}"/>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Freeform: Shape 18">
                  <a:extLst>
                    <a:ext uri="{FF2B5EF4-FFF2-40B4-BE49-F238E27FC236}">
                      <a16:creationId xmlns:a16="http://schemas.microsoft.com/office/drawing/2014/main" id="{45202572-7713-562D-6896-DBD2163D2F2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F123CEAC-426A-E5FF-EDB6-058561F9437E}"/>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1" name="Graphic 160">
                  <a:extLst>
                    <a:ext uri="{FF2B5EF4-FFF2-40B4-BE49-F238E27FC236}">
                      <a16:creationId xmlns:a16="http://schemas.microsoft.com/office/drawing/2014/main" id="{FF31AAC4-A0B7-5448-B9C8-93DEAF2AAD8A}"/>
                    </a:ext>
                  </a:extLst>
                </p:cNvPr>
                <p:cNvGrpSpPr/>
                <p:nvPr/>
              </p:nvGrpSpPr>
              <p:grpSpPr>
                <a:xfrm>
                  <a:off x="7258849" y="4914595"/>
                  <a:ext cx="197762" cy="268127"/>
                  <a:chOff x="7258849" y="4914595"/>
                  <a:chExt cx="197762" cy="268127"/>
                </a:xfrm>
                <a:noFill/>
              </p:grpSpPr>
              <p:sp>
                <p:nvSpPr>
                  <p:cNvPr id="22" name="Freeform: Shape 21">
                    <a:extLst>
                      <a:ext uri="{FF2B5EF4-FFF2-40B4-BE49-F238E27FC236}">
                        <a16:creationId xmlns:a16="http://schemas.microsoft.com/office/drawing/2014/main" id="{52EB44A0-AE4A-617C-D166-933698EFB226}"/>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Shape 22">
                    <a:extLst>
                      <a:ext uri="{FF2B5EF4-FFF2-40B4-BE49-F238E27FC236}">
                        <a16:creationId xmlns:a16="http://schemas.microsoft.com/office/drawing/2014/main" id="{3B58275A-A9C9-2449-B434-9C0ECF71FE48}"/>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4" name="TextBox 23">
            <a:extLst>
              <a:ext uri="{FF2B5EF4-FFF2-40B4-BE49-F238E27FC236}">
                <a16:creationId xmlns:a16="http://schemas.microsoft.com/office/drawing/2014/main" id="{0212D470-D057-DDEF-AA53-4ED51FD255A8}"/>
              </a:ext>
            </a:extLst>
          </p:cNvPr>
          <p:cNvSpPr txBox="1"/>
          <p:nvPr/>
        </p:nvSpPr>
        <p:spPr>
          <a:xfrm>
            <a:off x="598714" y="1216799"/>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lang="en-US" dirty="0"/>
              <a:t>In this lab, you’ll implement a configuration where connections that originate from within your virtual network are accepted.</a:t>
            </a:r>
          </a:p>
        </p:txBody>
      </p:sp>
      <p:sp>
        <p:nvSpPr>
          <p:cNvPr id="25" name="Rectangle: Top Corners Rounded 24">
            <a:extLst>
              <a:ext uri="{FF2B5EF4-FFF2-40B4-BE49-F238E27FC236}">
                <a16:creationId xmlns:a16="http://schemas.microsoft.com/office/drawing/2014/main" id="{98795BF2-C3D9-D85A-7E39-BAC5E59FFE56}"/>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6" name="TextBox 25">
            <a:extLst>
              <a:ext uri="{FF2B5EF4-FFF2-40B4-BE49-F238E27FC236}">
                <a16:creationId xmlns:a16="http://schemas.microsoft.com/office/drawing/2014/main" id="{68F9A7CB-76BD-9841-FD80-3891389D0860}"/>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lang="en-US" sz="1600" b="1" dirty="0">
                <a:solidFill>
                  <a:schemeClr val="tx2"/>
                </a:solidFill>
              </a:rPr>
              <a:t>After completing this lab, you’ll be able to:</a:t>
            </a:r>
          </a:p>
        </p:txBody>
      </p:sp>
      <p:grpSp>
        <p:nvGrpSpPr>
          <p:cNvPr id="27" name="Group 26">
            <a:extLst>
              <a:ext uri="{FF2B5EF4-FFF2-40B4-BE49-F238E27FC236}">
                <a16:creationId xmlns:a16="http://schemas.microsoft.com/office/drawing/2014/main" id="{A8A715BE-51B9-987E-1E02-DB09984BEF8B}"/>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28" name="Freeform: Shape 11">
              <a:extLst>
                <a:ext uri="{FF2B5EF4-FFF2-40B4-BE49-F238E27FC236}">
                  <a16:creationId xmlns:a16="http://schemas.microsoft.com/office/drawing/2014/main" id="{B9A55DC6-2BB6-9590-C402-BC6070CE488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1C3B9766-5A87-DB23-31DA-919AC049ECD9}"/>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0" name="TextBox 29">
            <a:extLst>
              <a:ext uri="{FF2B5EF4-FFF2-40B4-BE49-F238E27FC236}">
                <a16:creationId xmlns:a16="http://schemas.microsoft.com/office/drawing/2014/main" id="{F57D25FB-D170-5191-E448-F98992E247FC}"/>
              </a:ext>
            </a:extLst>
          </p:cNvPr>
          <p:cNvSpPr txBox="1"/>
          <p:nvPr/>
        </p:nvSpPr>
        <p:spPr>
          <a:xfrm>
            <a:off x="1223358" y="2609577"/>
            <a:ext cx="8936641" cy="307777"/>
          </a:xfrm>
          <a:prstGeom prst="rect">
            <a:avLst/>
          </a:prstGeom>
          <a:noFill/>
        </p:spPr>
        <p:txBody>
          <a:bodyPr wrap="square" lIns="0" anchor="ctr">
            <a:spAutoFit/>
          </a:bodyPr>
          <a:lstStyle/>
          <a:p>
            <a:pPr marL="0" marR="0" lvl="1" algn="l" defTabSz="914367" rtl="0" eaLnBrk="1" fontAlgn="auto" latinLnBrk="0" hangingPunct="1">
              <a:lnSpc>
                <a:spcPct val="100000"/>
              </a:lnSpc>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Lock down the Azure Database for MySQL Flexible Server instance by redeploying it in a subnet.</a:t>
            </a:r>
          </a:p>
        </p:txBody>
      </p:sp>
      <p:grpSp>
        <p:nvGrpSpPr>
          <p:cNvPr id="91" name="Group 90">
            <a:extLst>
              <a:ext uri="{FF2B5EF4-FFF2-40B4-BE49-F238E27FC236}">
                <a16:creationId xmlns:a16="http://schemas.microsoft.com/office/drawing/2014/main" id="{7E6BE804-5F52-AFA7-8020-270C00FFEA55}"/>
              </a:ext>
              <a:ext uri="{C183D7F6-B498-43B3-948B-1728B52AA6E4}">
                <adec:decorative xmlns:adec="http://schemas.microsoft.com/office/drawing/2017/decorative" val="1"/>
              </a:ext>
            </a:extLst>
          </p:cNvPr>
          <p:cNvGrpSpPr/>
          <p:nvPr/>
        </p:nvGrpSpPr>
        <p:grpSpPr>
          <a:xfrm>
            <a:off x="591756" y="3836844"/>
            <a:ext cx="472258" cy="472258"/>
            <a:chOff x="591756" y="4713144"/>
            <a:chExt cx="472258" cy="472258"/>
          </a:xfrm>
        </p:grpSpPr>
        <p:grpSp>
          <p:nvGrpSpPr>
            <p:cNvPr id="35" name="Group 34">
              <a:extLst>
                <a:ext uri="{FF2B5EF4-FFF2-40B4-BE49-F238E27FC236}">
                  <a16:creationId xmlns:a16="http://schemas.microsoft.com/office/drawing/2014/main" id="{806EBEC0-5D27-3386-7FE3-E363DBBFE61D}"/>
                </a:ext>
              </a:extLst>
            </p:cNvPr>
            <p:cNvGrpSpPr/>
            <p:nvPr/>
          </p:nvGrpSpPr>
          <p:grpSpPr>
            <a:xfrm>
              <a:off x="591756" y="4713144"/>
              <a:ext cx="472258" cy="472258"/>
              <a:chOff x="4863419" y="201635"/>
              <a:chExt cx="1828800" cy="1828800"/>
            </a:xfrm>
          </p:grpSpPr>
          <p:sp>
            <p:nvSpPr>
              <p:cNvPr id="36" name="Freeform: Shape 11">
                <a:extLst>
                  <a:ext uri="{FF2B5EF4-FFF2-40B4-BE49-F238E27FC236}">
                    <a16:creationId xmlns:a16="http://schemas.microsoft.com/office/drawing/2014/main" id="{DF8A45B2-14F1-9858-B65C-339FF3FFD3D4}"/>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7F981A30-37FE-449E-1E49-AD4DA060593C}"/>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2" name="Trackers_EADF" title="Icon of a clipboard with a checklist on it">
              <a:extLst>
                <a:ext uri="{FF2B5EF4-FFF2-40B4-BE49-F238E27FC236}">
                  <a16:creationId xmlns:a16="http://schemas.microsoft.com/office/drawing/2014/main" id="{710F03BA-8641-03C6-C305-7DE31B1985F9}"/>
                </a:ext>
              </a:extLst>
            </p:cNvPr>
            <p:cNvSpPr>
              <a:spLocks noChangeAspect="1" noEditPoints="1"/>
            </p:cNvSpPr>
            <p:nvPr/>
          </p:nvSpPr>
          <p:spPr bwMode="auto">
            <a:xfrm>
              <a:off x="731793" y="4808085"/>
              <a:ext cx="193885" cy="26437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1" name="Group 30">
            <a:extLst>
              <a:ext uri="{FF2B5EF4-FFF2-40B4-BE49-F238E27FC236}">
                <a16:creationId xmlns:a16="http://schemas.microsoft.com/office/drawing/2014/main" id="{C1712E95-CCE1-0E89-5B2E-460A4949C888}"/>
              </a:ext>
              <a:ext uri="{C183D7F6-B498-43B3-948B-1728B52AA6E4}">
                <adec:decorative xmlns:adec="http://schemas.microsoft.com/office/drawing/2017/decorative" val="1"/>
              </a:ext>
            </a:extLst>
          </p:cNvPr>
          <p:cNvGrpSpPr/>
          <p:nvPr/>
        </p:nvGrpSpPr>
        <p:grpSpPr>
          <a:xfrm>
            <a:off x="591756" y="3201140"/>
            <a:ext cx="472258" cy="472258"/>
            <a:chOff x="4863419" y="201635"/>
            <a:chExt cx="1828800" cy="1828800"/>
          </a:xfrm>
        </p:grpSpPr>
        <p:sp>
          <p:nvSpPr>
            <p:cNvPr id="32" name="Freeform: Shape 11">
              <a:extLst>
                <a:ext uri="{FF2B5EF4-FFF2-40B4-BE49-F238E27FC236}">
                  <a16:creationId xmlns:a16="http://schemas.microsoft.com/office/drawing/2014/main" id="{8C398066-68D4-C8B1-475A-C6FF7DC28F33}"/>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C109A9B0-62E1-20C7-0F96-D7915D1419FB}"/>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4" name="TextBox 33">
            <a:extLst>
              <a:ext uri="{FF2B5EF4-FFF2-40B4-BE49-F238E27FC236}">
                <a16:creationId xmlns:a16="http://schemas.microsoft.com/office/drawing/2014/main" id="{5943CA26-9D19-177B-A994-400A21085A8E}"/>
              </a:ext>
            </a:extLst>
          </p:cNvPr>
          <p:cNvSpPr txBox="1"/>
          <p:nvPr/>
        </p:nvSpPr>
        <p:spPr>
          <a:xfrm>
            <a:off x="1223358" y="3175660"/>
            <a:ext cx="5812441" cy="523220"/>
          </a:xfrm>
          <a:prstGeom prst="rect">
            <a:avLst/>
          </a:prstGeom>
          <a:noFill/>
        </p:spPr>
        <p:txBody>
          <a:bodyPr wrap="square" lIns="0" anchor="ctr">
            <a:spAutoFit/>
          </a:bodyPr>
          <a:lstStyle/>
          <a:p>
            <a:pPr marL="0" marR="0" lvl="1" algn="l" defTabSz="914367" rtl="0" eaLnBrk="1" fontAlgn="auto" latinLnBrk="0" hangingPunct="1">
              <a:lnSpc>
                <a:spcPct val="100000"/>
              </a:lnSpc>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Recreate the service connections to the new MySQL Flexible Server instance.</a:t>
            </a:r>
          </a:p>
        </p:txBody>
      </p:sp>
      <p:sp>
        <p:nvSpPr>
          <p:cNvPr id="38" name="TextBox 37">
            <a:extLst>
              <a:ext uri="{FF2B5EF4-FFF2-40B4-BE49-F238E27FC236}">
                <a16:creationId xmlns:a16="http://schemas.microsoft.com/office/drawing/2014/main" id="{E076A24B-E521-F87F-3B88-6EF43841E639}"/>
              </a:ext>
            </a:extLst>
          </p:cNvPr>
          <p:cNvSpPr txBox="1"/>
          <p:nvPr/>
        </p:nvSpPr>
        <p:spPr>
          <a:xfrm>
            <a:off x="1223358" y="3919085"/>
            <a:ext cx="6035085" cy="307777"/>
          </a:xfrm>
          <a:prstGeom prst="rect">
            <a:avLst/>
          </a:prstGeom>
          <a:noFill/>
        </p:spPr>
        <p:txBody>
          <a:bodyPr wrap="square" lIns="0" anchor="ctr">
            <a:spAutoFit/>
          </a:bodyPr>
          <a:lstStyle/>
          <a:p>
            <a:pPr marL="0" marR="0" lvl="1" algn="l" defTabSz="914367" rtl="0" eaLnBrk="1" fontAlgn="auto" latinLnBrk="0" hangingPunct="1">
              <a:lnSpc>
                <a:spcPct val="100000"/>
              </a:lnSpc>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Lock down the Key Vault instance by using a private endpoint.</a:t>
            </a:r>
          </a:p>
        </p:txBody>
      </p:sp>
      <p:sp>
        <p:nvSpPr>
          <p:cNvPr id="53" name="key">
            <a:extLst>
              <a:ext uri="{FF2B5EF4-FFF2-40B4-BE49-F238E27FC236}">
                <a16:creationId xmlns:a16="http://schemas.microsoft.com/office/drawing/2014/main" id="{0B5151E9-6AC8-0CB3-1E15-343CC6AAF5F9}"/>
              </a:ext>
              <a:ext uri="{C183D7F6-B498-43B3-948B-1728B52AA6E4}">
                <adec:decorative xmlns:adec="http://schemas.microsoft.com/office/drawing/2017/decorative" val="1"/>
              </a:ext>
            </a:extLst>
          </p:cNvPr>
          <p:cNvSpPr>
            <a:spLocks noChangeAspect="1" noEditPoints="1"/>
          </p:cNvSpPr>
          <p:nvPr/>
        </p:nvSpPr>
        <p:spPr bwMode="auto">
          <a:xfrm>
            <a:off x="715445" y="3345072"/>
            <a:ext cx="185345" cy="184394"/>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 name="Lock">
            <a:extLst>
              <a:ext uri="{FF2B5EF4-FFF2-40B4-BE49-F238E27FC236}">
                <a16:creationId xmlns:a16="http://schemas.microsoft.com/office/drawing/2014/main" id="{46FBEE13-BA9B-8B39-4369-F36D55323114}"/>
              </a:ext>
              <a:ext uri="{C183D7F6-B498-43B3-948B-1728B52AA6E4}">
                <adec:decorative xmlns:adec="http://schemas.microsoft.com/office/drawing/2017/decorative" val="1"/>
              </a:ext>
            </a:extLst>
          </p:cNvPr>
          <p:cNvSpPr>
            <a:spLocks noChangeAspect="1" noEditPoints="1"/>
          </p:cNvSpPr>
          <p:nvPr/>
        </p:nvSpPr>
        <p:spPr bwMode="auto">
          <a:xfrm>
            <a:off x="734339" y="2635145"/>
            <a:ext cx="187091" cy="26148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 name="Group 1">
            <a:extLst>
              <a:ext uri="{FF2B5EF4-FFF2-40B4-BE49-F238E27FC236}">
                <a16:creationId xmlns:a16="http://schemas.microsoft.com/office/drawing/2014/main" id="{EB5EE4C3-90BF-D8C6-359F-E38C4A328014}"/>
              </a:ext>
              <a:ext uri="{C183D7F6-B498-43B3-948B-1728B52AA6E4}">
                <adec:decorative xmlns:adec="http://schemas.microsoft.com/office/drawing/2017/decorative" val="1"/>
              </a:ext>
            </a:extLst>
          </p:cNvPr>
          <p:cNvGrpSpPr>
            <a:grpSpLocks/>
          </p:cNvGrpSpPr>
          <p:nvPr/>
        </p:nvGrpSpPr>
        <p:grpSpPr>
          <a:xfrm>
            <a:off x="591756" y="4431706"/>
            <a:ext cx="472258" cy="472258"/>
            <a:chOff x="-1160844" y="3552242"/>
            <a:chExt cx="472258" cy="472258"/>
          </a:xfrm>
        </p:grpSpPr>
        <p:grpSp>
          <p:nvGrpSpPr>
            <p:cNvPr id="3" name="Group 2">
              <a:extLst>
                <a:ext uri="{FF2B5EF4-FFF2-40B4-BE49-F238E27FC236}">
                  <a16:creationId xmlns:a16="http://schemas.microsoft.com/office/drawing/2014/main" id="{7648088B-EE4C-503E-F17E-AE4390C29D6E}"/>
                </a:ext>
              </a:extLst>
            </p:cNvPr>
            <p:cNvGrpSpPr/>
            <p:nvPr/>
          </p:nvGrpSpPr>
          <p:grpSpPr>
            <a:xfrm>
              <a:off x="-1160844" y="3552242"/>
              <a:ext cx="472258" cy="472258"/>
              <a:chOff x="4863419" y="201635"/>
              <a:chExt cx="1828800" cy="1828800"/>
            </a:xfrm>
          </p:grpSpPr>
          <p:sp>
            <p:nvSpPr>
              <p:cNvPr id="5" name="Freeform: Shape 11">
                <a:extLst>
                  <a:ext uri="{FF2B5EF4-FFF2-40B4-BE49-F238E27FC236}">
                    <a16:creationId xmlns:a16="http://schemas.microsoft.com/office/drawing/2014/main" id="{86A5F70B-7DD5-DDD3-6123-276BAE0E333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Oval 5">
                <a:extLst>
                  <a:ext uri="{FF2B5EF4-FFF2-40B4-BE49-F238E27FC236}">
                    <a16:creationId xmlns:a16="http://schemas.microsoft.com/office/drawing/2014/main" id="{E5C9A849-F74E-8DCD-3710-E005489F02C6}"/>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 name="plan" title="Icon of a circle with an arrow projecting from it between two exes">
              <a:extLst>
                <a:ext uri="{FF2B5EF4-FFF2-40B4-BE49-F238E27FC236}">
                  <a16:creationId xmlns:a16="http://schemas.microsoft.com/office/drawing/2014/main" id="{0C1AEF63-A27E-6B2B-BF39-9635E022A46E}"/>
                </a:ext>
              </a:extLst>
            </p:cNvPr>
            <p:cNvSpPr>
              <a:spLocks noChangeAspect="1" noEditPoints="1"/>
            </p:cNvSpPr>
            <p:nvPr/>
          </p:nvSpPr>
          <p:spPr bwMode="auto">
            <a:xfrm>
              <a:off x="-1022313" y="3690389"/>
              <a:ext cx="195196" cy="195964"/>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sp>
        <p:nvSpPr>
          <p:cNvPr id="39" name="TextBox 38">
            <a:extLst>
              <a:ext uri="{FF2B5EF4-FFF2-40B4-BE49-F238E27FC236}">
                <a16:creationId xmlns:a16="http://schemas.microsoft.com/office/drawing/2014/main" id="{B79F88BB-C464-BE06-C6DE-47384DEFA17B}"/>
              </a:ext>
            </a:extLst>
          </p:cNvPr>
          <p:cNvSpPr txBox="1"/>
          <p:nvPr/>
        </p:nvSpPr>
        <p:spPr>
          <a:xfrm>
            <a:off x="1223358" y="4525373"/>
            <a:ext cx="6035085" cy="307777"/>
          </a:xfrm>
          <a:prstGeom prst="rect">
            <a:avLst/>
          </a:prstGeom>
          <a:noFill/>
        </p:spPr>
        <p:txBody>
          <a:bodyPr wrap="square" lIns="0" anchor="ctr">
            <a:spAutoFit/>
          </a:bodyPr>
          <a:lstStyle/>
          <a:p>
            <a:pPr marL="0" marR="0" lvl="1" algn="l" defTabSz="914367" rtl="0" eaLnBrk="1" fontAlgn="auto" latinLnBrk="0" hangingPunct="1">
              <a:lnSpc>
                <a:spcPct val="100000"/>
              </a:lnSpc>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Test your setup.</a:t>
            </a:r>
          </a:p>
        </p:txBody>
      </p:sp>
    </p:spTree>
    <p:custDataLst>
      <p:tags r:id="rId1"/>
    </p:custDataLst>
    <p:extLst>
      <p:ext uri="{BB962C8B-B14F-4D97-AF65-F5344CB8AC3E}">
        <p14:creationId xmlns:p14="http://schemas.microsoft.com/office/powerpoint/2010/main" val="36191719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804F5B-C997-C785-92F7-03D7E41AFCFF}"/>
              </a:ext>
            </a:extLst>
          </p:cNvPr>
          <p:cNvSpPr>
            <a:spLocks noGrp="1"/>
          </p:cNvSpPr>
          <p:nvPr>
            <p:ph type="title"/>
          </p:nvPr>
        </p:nvSpPr>
        <p:spPr>
          <a:xfrm>
            <a:off x="588263" y="280632"/>
            <a:ext cx="11018520" cy="861774"/>
          </a:xfrm>
        </p:spPr>
        <p:txBody>
          <a:bodyPr/>
          <a:lstStyle/>
          <a:p>
            <a:r>
              <a:rPr lang="en-US" noProof="0" dirty="0"/>
              <a:t>Lock down the Azure Database for MySQL Flexible Server instance by redeploying it in a subnet</a:t>
            </a:r>
            <a:endParaRPr lang="en-IN" dirty="0"/>
          </a:p>
        </p:txBody>
      </p:sp>
      <p:sp>
        <p:nvSpPr>
          <p:cNvPr id="9" name="TextBox 8">
            <a:extLst>
              <a:ext uri="{FF2B5EF4-FFF2-40B4-BE49-F238E27FC236}">
                <a16:creationId xmlns:a16="http://schemas.microsoft.com/office/drawing/2014/main" id="{66E05FD3-95E4-AB4A-85AE-BACE2A61A4A6}"/>
              </a:ext>
            </a:extLst>
          </p:cNvPr>
          <p:cNvSpPr txBox="1"/>
          <p:nvPr/>
        </p:nvSpPr>
        <p:spPr>
          <a:xfrm>
            <a:off x="1" y="1344147"/>
            <a:ext cx="12192000" cy="1835359"/>
          </a:xfrm>
          <a:prstGeom prst="rect">
            <a:avLst/>
          </a:prstGeom>
          <a:solidFill>
            <a:schemeClr val="accent1">
              <a:lumMod val="20000"/>
              <a:lumOff val="80000"/>
            </a:schemeClr>
          </a:solidFill>
        </p:spPr>
        <p:txBody>
          <a:bodyPr wrap="square" lIns="585216" tIns="137160" rIns="585216" bIns="13716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lock down access to your MySQL database by integrating it in your </a:t>
            </a:r>
            <a:r>
              <a:rPr kumimoji="0" lang="en-US" sz="2000" b="0" i="0" u="none" strike="noStrike" kern="1200" cap="none" spc="0" normalizeH="0" baseline="0" noProof="0" dirty="0" err="1">
                <a:ln>
                  <a:noFill/>
                </a:ln>
                <a:solidFill>
                  <a:srgbClr val="000000"/>
                </a:solidFill>
                <a:effectLst/>
                <a:uLnTx/>
                <a:uFillTx/>
                <a:latin typeface="Segoe UI "/>
                <a:ea typeface="+mn-ea"/>
                <a:cs typeface="+mn-cs"/>
              </a:rPr>
              <a:t>VNet</a:t>
            </a:r>
            <a:r>
              <a:rPr kumimoji="0" lang="en-US" sz="2000" b="0" i="0" u="none" strike="noStrike" kern="1200" cap="none" spc="0" normalizeH="0" baseline="0" noProof="0" dirty="0">
                <a:ln>
                  <a:noFill/>
                </a:ln>
                <a:solidFill>
                  <a:srgbClr val="000000"/>
                </a:solidFill>
                <a:effectLst/>
                <a:uLnTx/>
                <a:uFillTx/>
                <a:latin typeface="Segoe UI "/>
                <a:ea typeface="+mn-ea"/>
                <a:cs typeface="+mn-cs"/>
              </a:rPr>
              <a:t>. Once you’ve redeployed the MySQL in a subnet, you can block public access to your database.</a:t>
            </a:r>
          </a:p>
        </p:txBody>
      </p:sp>
      <p:sp>
        <p:nvSpPr>
          <p:cNvPr id="10" name="Rectangle: Rounded Corners 9">
            <a:extLst>
              <a:ext uri="{FF2B5EF4-FFF2-40B4-BE49-F238E27FC236}">
                <a16:creationId xmlns:a16="http://schemas.microsoft.com/office/drawing/2014/main" id="{D6A11ACA-9AB8-A1C1-7386-21A967291373}"/>
              </a:ext>
              <a:ext uri="{C183D7F6-B498-43B3-948B-1728B52AA6E4}">
                <adec:decorative xmlns:adec="http://schemas.microsoft.com/office/drawing/2017/decorative" val="1"/>
              </a:ext>
            </a:extLst>
          </p:cNvPr>
          <p:cNvSpPr/>
          <p:nvPr/>
        </p:nvSpPr>
        <p:spPr bwMode="auto">
          <a:xfrm>
            <a:off x="588263" y="2200141"/>
            <a:ext cx="11015474" cy="4200659"/>
          </a:xfrm>
          <a:prstGeom prst="roundRect">
            <a:avLst>
              <a:gd name="adj" fmla="val 5195"/>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1" name="TextBox 10">
            <a:extLst>
              <a:ext uri="{FF2B5EF4-FFF2-40B4-BE49-F238E27FC236}">
                <a16:creationId xmlns:a16="http://schemas.microsoft.com/office/drawing/2014/main" id="{97009665-7AB7-C5FF-408D-B17373C00D54}"/>
              </a:ext>
            </a:extLst>
          </p:cNvPr>
          <p:cNvSpPr txBox="1"/>
          <p:nvPr/>
        </p:nvSpPr>
        <p:spPr>
          <a:xfrm>
            <a:off x="1992993" y="2543705"/>
            <a:ext cx="8520673" cy="136191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Virtual Network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VNet</a:t>
            </a:r>
            <a:r>
              <a:rPr kumimoji="0" lang="en-US" sz="1800" b="0" i="0" u="none" strike="noStrike" kern="1200" cap="none" spc="0" normalizeH="0" baseline="0" noProof="0" dirty="0">
                <a:ln>
                  <a:noFill/>
                </a:ln>
                <a:solidFill>
                  <a:srgbClr val="000000"/>
                </a:solidFill>
                <a:effectLst/>
                <a:uLnTx/>
                <a:uFillTx/>
                <a:latin typeface="Segoe UI "/>
                <a:ea typeface="+mn-ea"/>
                <a:cs typeface="+mn-cs"/>
              </a:rPr>
              <a:t>) integration for an Azure Database for MySQL - Flexible Server enables you to lock down access to the server to only your virtual network infrastructure. </a:t>
            </a:r>
          </a:p>
          <a:p>
            <a:pPr marL="292100" marR="0" lvl="1" indent="-179388" algn="l" defTabSz="91436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Your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VNet</a:t>
            </a:r>
            <a:r>
              <a:rPr kumimoji="0" lang="en-US" sz="1600" b="0" i="0" u="none" strike="noStrike" kern="1200" cap="none" spc="0" normalizeH="0" baseline="0" noProof="0" dirty="0">
                <a:ln>
                  <a:noFill/>
                </a:ln>
                <a:solidFill>
                  <a:srgbClr val="000000"/>
                </a:solidFill>
                <a:effectLst/>
                <a:uLnTx/>
                <a:uFillTx/>
                <a:latin typeface="Segoe UI "/>
                <a:ea typeface="+mn-ea"/>
                <a:cs typeface="+mn-cs"/>
              </a:rPr>
              <a:t> can include all your application and database resources in a single virtual network or may stretch across different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VNets</a:t>
            </a:r>
            <a:r>
              <a:rPr kumimoji="0" lang="en-US" sz="1600" b="0" i="0" u="none" strike="noStrike" kern="1200" cap="none" spc="0" normalizeH="0" baseline="0" noProof="0" dirty="0">
                <a:ln>
                  <a:noFill/>
                </a:ln>
                <a:solidFill>
                  <a:srgbClr val="000000"/>
                </a:solidFill>
                <a:effectLst/>
                <a:uLnTx/>
                <a:uFillTx/>
                <a:latin typeface="Segoe UI "/>
                <a:ea typeface="+mn-ea"/>
                <a:cs typeface="+mn-cs"/>
              </a:rPr>
              <a:t> in the same region or a different region.</a:t>
            </a:r>
          </a:p>
        </p:txBody>
      </p:sp>
      <p:grpSp>
        <p:nvGrpSpPr>
          <p:cNvPr id="14" name="Group 13">
            <a:extLst>
              <a:ext uri="{FF2B5EF4-FFF2-40B4-BE49-F238E27FC236}">
                <a16:creationId xmlns:a16="http://schemas.microsoft.com/office/drawing/2014/main" id="{CEF56681-E448-CCA5-94B9-6E22947B24B1}"/>
              </a:ext>
              <a:ext uri="{C183D7F6-B498-43B3-948B-1728B52AA6E4}">
                <adec:decorative xmlns:adec="http://schemas.microsoft.com/office/drawing/2017/decorative" val="1"/>
              </a:ext>
            </a:extLst>
          </p:cNvPr>
          <p:cNvGrpSpPr/>
          <p:nvPr/>
        </p:nvGrpSpPr>
        <p:grpSpPr>
          <a:xfrm>
            <a:off x="974044" y="2598824"/>
            <a:ext cx="724818" cy="710848"/>
            <a:chOff x="4863421" y="201635"/>
            <a:chExt cx="1828801" cy="1828801"/>
          </a:xfrm>
        </p:grpSpPr>
        <p:sp>
          <p:nvSpPr>
            <p:cNvPr id="16" name="Freeform: Shape 11">
              <a:extLst>
                <a:ext uri="{FF2B5EF4-FFF2-40B4-BE49-F238E27FC236}">
                  <a16:creationId xmlns:a16="http://schemas.microsoft.com/office/drawing/2014/main" id="{E0D6E881-7EBA-84CC-B990-FDAEE6F34B1B}"/>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000000"/>
                </a:solidFill>
                <a:effectLst/>
                <a:uLnTx/>
                <a:uFillTx/>
                <a:latin typeface="Segoe UI "/>
                <a:ea typeface="Segoe UI" pitchFamily="34" charset="0"/>
                <a:cs typeface="Segoe UI" pitchFamily="34" charset="0"/>
              </a:endParaRPr>
            </a:p>
          </p:txBody>
        </p:sp>
        <p:sp>
          <p:nvSpPr>
            <p:cNvPr id="17" name="Oval 16">
              <a:extLst>
                <a:ext uri="{FF2B5EF4-FFF2-40B4-BE49-F238E27FC236}">
                  <a16:creationId xmlns:a16="http://schemas.microsoft.com/office/drawing/2014/main" id="{8F659141-D0DA-F1C3-2DD7-ECAAEB856BB8}"/>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Segoe UI "/>
                <a:ea typeface="Segoe UI" pitchFamily="34" charset="0"/>
                <a:cs typeface="Segoe UI" pitchFamily="34" charset="0"/>
              </a:endParaRPr>
            </a:p>
          </p:txBody>
        </p:sp>
      </p:grpSp>
      <p:sp>
        <p:nvSpPr>
          <p:cNvPr id="12" name="TextBox 11">
            <a:extLst>
              <a:ext uri="{FF2B5EF4-FFF2-40B4-BE49-F238E27FC236}">
                <a16:creationId xmlns:a16="http://schemas.microsoft.com/office/drawing/2014/main" id="{FFABE2BE-A373-1CE3-0E7C-427125759FEC}"/>
              </a:ext>
            </a:extLst>
          </p:cNvPr>
          <p:cNvSpPr txBox="1"/>
          <p:nvPr/>
        </p:nvSpPr>
        <p:spPr>
          <a:xfrm>
            <a:off x="1992994" y="4155617"/>
            <a:ext cx="8985130" cy="84638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Azure Database for MySQL - Flexible Server supports client connectivity from:</a:t>
            </a:r>
          </a:p>
          <a:p>
            <a:pPr marL="292100" lvl="1" indent="-179388" defTabSz="914367">
              <a:spcAft>
                <a:spcPts val="300"/>
              </a:spcAft>
              <a:buFont typeface="Arial" panose="020B0604020202020204" pitchFamily="34" charset="0"/>
              <a:buChar char="•"/>
              <a:defRPr/>
            </a:pPr>
            <a:r>
              <a:rPr lang="en-US" sz="1600" dirty="0">
                <a:solidFill>
                  <a:srgbClr val="000000"/>
                </a:solidFill>
                <a:latin typeface="Segoe UI "/>
              </a:rPr>
              <a:t>Virtual networks within the same Azure region. (locally peered </a:t>
            </a:r>
            <a:r>
              <a:rPr lang="en-US" sz="1600" dirty="0" err="1">
                <a:solidFill>
                  <a:srgbClr val="000000"/>
                </a:solidFill>
                <a:latin typeface="Segoe UI "/>
              </a:rPr>
              <a:t>VNets</a:t>
            </a:r>
            <a:r>
              <a:rPr lang="en-US" sz="1600" dirty="0">
                <a:solidFill>
                  <a:srgbClr val="000000"/>
                </a:solidFill>
                <a:latin typeface="Segoe UI "/>
              </a:rPr>
              <a:t>)</a:t>
            </a:r>
          </a:p>
          <a:p>
            <a:pPr marL="292100" lvl="1" indent="-179388" defTabSz="914367">
              <a:spcAft>
                <a:spcPts val="300"/>
              </a:spcAft>
              <a:buFont typeface="Arial" panose="020B0604020202020204" pitchFamily="34" charset="0"/>
              <a:buChar char="•"/>
              <a:defRPr/>
            </a:pPr>
            <a:r>
              <a:rPr lang="en-US" sz="1600" dirty="0">
                <a:solidFill>
                  <a:srgbClr val="000000"/>
                </a:solidFill>
                <a:latin typeface="Segoe UI "/>
              </a:rPr>
              <a:t>Virtual networks across Azure regions. (Global peered </a:t>
            </a:r>
            <a:r>
              <a:rPr lang="en-US" sz="1600" dirty="0" err="1">
                <a:solidFill>
                  <a:srgbClr val="000000"/>
                </a:solidFill>
                <a:latin typeface="Segoe UI "/>
              </a:rPr>
              <a:t>VNets</a:t>
            </a:r>
            <a:r>
              <a:rPr lang="en-US" sz="1600" dirty="0">
                <a:solidFill>
                  <a:srgbClr val="000000"/>
                </a:solidFill>
                <a:latin typeface="Segoe UI "/>
              </a:rPr>
              <a:t>)</a:t>
            </a:r>
          </a:p>
        </p:txBody>
      </p:sp>
      <p:grpSp>
        <p:nvGrpSpPr>
          <p:cNvPr id="19" name="Group 18">
            <a:extLst>
              <a:ext uri="{FF2B5EF4-FFF2-40B4-BE49-F238E27FC236}">
                <a16:creationId xmlns:a16="http://schemas.microsoft.com/office/drawing/2014/main" id="{921D1A7D-AF67-6B7A-E2C8-CE31546306B3}"/>
              </a:ext>
              <a:ext uri="{C183D7F6-B498-43B3-948B-1728B52AA6E4}">
                <adec:decorative xmlns:adec="http://schemas.microsoft.com/office/drawing/2017/decorative" val="1"/>
              </a:ext>
            </a:extLst>
          </p:cNvPr>
          <p:cNvGrpSpPr/>
          <p:nvPr/>
        </p:nvGrpSpPr>
        <p:grpSpPr>
          <a:xfrm>
            <a:off x="974044" y="4072004"/>
            <a:ext cx="724818" cy="710848"/>
            <a:chOff x="4863421" y="201635"/>
            <a:chExt cx="1828801" cy="1828801"/>
          </a:xfrm>
        </p:grpSpPr>
        <p:sp>
          <p:nvSpPr>
            <p:cNvPr id="20" name="Freeform: Shape 11">
              <a:extLst>
                <a:ext uri="{FF2B5EF4-FFF2-40B4-BE49-F238E27FC236}">
                  <a16:creationId xmlns:a16="http://schemas.microsoft.com/office/drawing/2014/main" id="{ABF30CA2-B443-571B-493C-C29025C4DFFD}"/>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000000"/>
                </a:solidFill>
                <a:effectLst/>
                <a:uLnTx/>
                <a:uFillTx/>
                <a:latin typeface="Segoe UI "/>
                <a:ea typeface="Segoe UI" pitchFamily="34" charset="0"/>
                <a:cs typeface="Segoe UI" pitchFamily="34" charset="0"/>
              </a:endParaRPr>
            </a:p>
          </p:txBody>
        </p:sp>
        <p:sp>
          <p:nvSpPr>
            <p:cNvPr id="21" name="Oval 20">
              <a:extLst>
                <a:ext uri="{FF2B5EF4-FFF2-40B4-BE49-F238E27FC236}">
                  <a16:creationId xmlns:a16="http://schemas.microsoft.com/office/drawing/2014/main" id="{238DA183-97BB-29BB-BB23-E01F05CDD675}"/>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Segoe UI "/>
                <a:ea typeface="Segoe UI" pitchFamily="34" charset="0"/>
                <a:cs typeface="Segoe UI" pitchFamily="34" charset="0"/>
              </a:endParaRPr>
            </a:p>
          </p:txBody>
        </p:sp>
      </p:grpSp>
      <p:sp>
        <p:nvSpPr>
          <p:cNvPr id="13" name="TextBox 12">
            <a:extLst>
              <a:ext uri="{FF2B5EF4-FFF2-40B4-BE49-F238E27FC236}">
                <a16:creationId xmlns:a16="http://schemas.microsoft.com/office/drawing/2014/main" id="{A4FDB9FD-08B7-A3E4-1238-5910B24BB3E6}"/>
              </a:ext>
            </a:extLst>
          </p:cNvPr>
          <p:cNvSpPr txBox="1"/>
          <p:nvPr/>
        </p:nvSpPr>
        <p:spPr>
          <a:xfrm>
            <a:off x="1992994" y="5312702"/>
            <a:ext cx="8985130" cy="83099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Subnets enable you to segment the virtual network into one or more subnetworks and allocate a portion of the virtual network's address space to which you can then deploy Azure resources. </a:t>
            </a:r>
          </a:p>
        </p:txBody>
      </p:sp>
      <p:grpSp>
        <p:nvGrpSpPr>
          <p:cNvPr id="22" name="Group 21">
            <a:extLst>
              <a:ext uri="{FF2B5EF4-FFF2-40B4-BE49-F238E27FC236}">
                <a16:creationId xmlns:a16="http://schemas.microsoft.com/office/drawing/2014/main" id="{79050B24-3F9A-B394-864D-3D50FA6EF5B5}"/>
              </a:ext>
              <a:ext uri="{C183D7F6-B498-43B3-948B-1728B52AA6E4}">
                <adec:decorative xmlns:adec="http://schemas.microsoft.com/office/drawing/2017/decorative" val="1"/>
              </a:ext>
            </a:extLst>
          </p:cNvPr>
          <p:cNvGrpSpPr/>
          <p:nvPr/>
        </p:nvGrpSpPr>
        <p:grpSpPr>
          <a:xfrm>
            <a:off x="974044" y="5291269"/>
            <a:ext cx="724818" cy="710848"/>
            <a:chOff x="4863421" y="201635"/>
            <a:chExt cx="1828801" cy="1828801"/>
          </a:xfrm>
        </p:grpSpPr>
        <p:sp>
          <p:nvSpPr>
            <p:cNvPr id="23" name="Freeform: Shape 11">
              <a:extLst>
                <a:ext uri="{FF2B5EF4-FFF2-40B4-BE49-F238E27FC236}">
                  <a16:creationId xmlns:a16="http://schemas.microsoft.com/office/drawing/2014/main" id="{779E7811-216F-642A-CE93-036D2EC72B76}"/>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000000"/>
                </a:solidFill>
                <a:effectLst/>
                <a:uLnTx/>
                <a:uFillTx/>
                <a:latin typeface="Segoe UI "/>
                <a:ea typeface="Segoe UI" pitchFamily="34" charset="0"/>
                <a:cs typeface="Segoe UI" pitchFamily="34" charset="0"/>
              </a:endParaRPr>
            </a:p>
          </p:txBody>
        </p:sp>
        <p:sp>
          <p:nvSpPr>
            <p:cNvPr id="24" name="Oval 23">
              <a:extLst>
                <a:ext uri="{FF2B5EF4-FFF2-40B4-BE49-F238E27FC236}">
                  <a16:creationId xmlns:a16="http://schemas.microsoft.com/office/drawing/2014/main" id="{1111D712-F521-FABA-AD95-ED54F518586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000000"/>
                </a:solidFill>
                <a:effectLst/>
                <a:uLnTx/>
                <a:uFillTx/>
                <a:latin typeface="Segoe UI "/>
                <a:ea typeface="Segoe UI" pitchFamily="34" charset="0"/>
                <a:cs typeface="Segoe UI" pitchFamily="34" charset="0"/>
              </a:endParaRPr>
            </a:p>
          </p:txBody>
        </p:sp>
      </p:grpSp>
      <p:sp>
        <p:nvSpPr>
          <p:cNvPr id="32" name="Shield_EA18">
            <a:extLst>
              <a:ext uri="{FF2B5EF4-FFF2-40B4-BE49-F238E27FC236}">
                <a16:creationId xmlns:a16="http://schemas.microsoft.com/office/drawing/2014/main" id="{785DD200-8019-5EF3-5E8C-969FA63A4253}"/>
              </a:ext>
              <a:ext uri="{C183D7F6-B498-43B3-948B-1728B52AA6E4}">
                <adec:decorative xmlns:adec="http://schemas.microsoft.com/office/drawing/2017/decorative" val="1"/>
              </a:ext>
            </a:extLst>
          </p:cNvPr>
          <p:cNvSpPr>
            <a:spLocks noChangeAspect="1"/>
          </p:cNvSpPr>
          <p:nvPr/>
        </p:nvSpPr>
        <p:spPr bwMode="auto">
          <a:xfrm>
            <a:off x="1182243" y="2790066"/>
            <a:ext cx="308420" cy="32836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
              <a:ea typeface="+mn-ea"/>
              <a:cs typeface="+mn-cs"/>
            </a:endParaRPr>
          </a:p>
        </p:txBody>
      </p:sp>
      <p:sp>
        <p:nvSpPr>
          <p:cNvPr id="33" name="Touchscreen">
            <a:extLst>
              <a:ext uri="{FF2B5EF4-FFF2-40B4-BE49-F238E27FC236}">
                <a16:creationId xmlns:a16="http://schemas.microsoft.com/office/drawing/2014/main" id="{9F73CA6B-40A9-2397-1A28-881C1CBC2041}"/>
              </a:ext>
              <a:ext uri="{C183D7F6-B498-43B3-948B-1728B52AA6E4}">
                <adec:decorative xmlns:adec="http://schemas.microsoft.com/office/drawing/2017/decorative" val="1"/>
              </a:ext>
            </a:extLst>
          </p:cNvPr>
          <p:cNvSpPr>
            <a:spLocks noChangeAspect="1" noEditPoints="1"/>
          </p:cNvSpPr>
          <p:nvPr/>
        </p:nvSpPr>
        <p:spPr bwMode="auto">
          <a:xfrm>
            <a:off x="1182243" y="4282842"/>
            <a:ext cx="308420" cy="289172"/>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
              <a:ea typeface="+mn-ea"/>
              <a:cs typeface="+mn-cs"/>
            </a:endParaRPr>
          </a:p>
        </p:txBody>
      </p:sp>
      <p:sp>
        <p:nvSpPr>
          <p:cNvPr id="34" name="signal">
            <a:extLst>
              <a:ext uri="{FF2B5EF4-FFF2-40B4-BE49-F238E27FC236}">
                <a16:creationId xmlns:a16="http://schemas.microsoft.com/office/drawing/2014/main" id="{1E3BCB04-ACC5-15B0-14C8-0AE6C0976959}"/>
              </a:ext>
              <a:ext uri="{C183D7F6-B498-43B3-948B-1728B52AA6E4}">
                <adec:decorative xmlns:adec="http://schemas.microsoft.com/office/drawing/2017/decorative" val="1"/>
              </a:ext>
            </a:extLst>
          </p:cNvPr>
          <p:cNvSpPr>
            <a:spLocks noChangeAspect="1" noEditPoints="1"/>
          </p:cNvSpPr>
          <p:nvPr/>
        </p:nvSpPr>
        <p:spPr bwMode="auto">
          <a:xfrm>
            <a:off x="1199781" y="5491573"/>
            <a:ext cx="273344" cy="310240"/>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371845151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2" y="293240"/>
            <a:ext cx="11355693" cy="861774"/>
          </a:xfrm>
        </p:spPr>
        <p:txBody>
          <a:bodyPr/>
          <a:lstStyle/>
          <a:p>
            <a:r>
              <a:rPr lang="en-US" dirty="0"/>
              <a:t>Recreate the service connections to the new MySQL Flexible Server instance</a:t>
            </a:r>
          </a:p>
        </p:txBody>
      </p:sp>
      <p:sp>
        <p:nvSpPr>
          <p:cNvPr id="5" name="TextBox 4">
            <a:extLst>
              <a:ext uri="{FF2B5EF4-FFF2-40B4-BE49-F238E27FC236}">
                <a16:creationId xmlns:a16="http://schemas.microsoft.com/office/drawing/2014/main" id="{DF27BFDE-6ABA-8172-047E-5CB14FBD914C}"/>
              </a:ext>
            </a:extLst>
          </p:cNvPr>
          <p:cNvSpPr txBox="1"/>
          <p:nvPr/>
        </p:nvSpPr>
        <p:spPr>
          <a:xfrm>
            <a:off x="585596" y="1220696"/>
            <a:ext cx="1098348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need to recreate each of the service connections of the customers, visits and vets services to the database</a:t>
            </a:r>
          </a:p>
        </p:txBody>
      </p:sp>
      <p:sp>
        <p:nvSpPr>
          <p:cNvPr id="2" name="Rectangle: Top Corners Rounded 1">
            <a:extLst>
              <a:ext uri="{FF2B5EF4-FFF2-40B4-BE49-F238E27FC236}">
                <a16:creationId xmlns:a16="http://schemas.microsoft.com/office/drawing/2014/main" id="{EB309874-E116-2D17-F3D4-9B6865E8285E}"/>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Rectangle 3">
            <a:extLst>
              <a:ext uri="{FF2B5EF4-FFF2-40B4-BE49-F238E27FC236}">
                <a16:creationId xmlns:a16="http://schemas.microsoft.com/office/drawing/2014/main" id="{DF168EFE-5807-87EB-700B-46AFCF6B12AA}"/>
              </a:ext>
              <a:ext uri="{C183D7F6-B498-43B3-948B-1728B52AA6E4}">
                <adec:decorative xmlns:adec="http://schemas.microsoft.com/office/drawing/2017/decorative" val="1"/>
              </a:ext>
            </a:extLst>
          </p:cNvPr>
          <p:cNvSpPr/>
          <p:nvPr/>
        </p:nvSpPr>
        <p:spPr bwMode="auto">
          <a:xfrm>
            <a:off x="0" y="2243574"/>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TextBox 5">
            <a:extLst>
              <a:ext uri="{FF2B5EF4-FFF2-40B4-BE49-F238E27FC236}">
                <a16:creationId xmlns:a16="http://schemas.microsoft.com/office/drawing/2014/main" id="{1CC59373-701C-58F9-2749-7CD6C92420DF}"/>
              </a:ext>
            </a:extLst>
          </p:cNvPr>
          <p:cNvSpPr txBox="1"/>
          <p:nvPr/>
        </p:nvSpPr>
        <p:spPr>
          <a:xfrm>
            <a:off x="1219200" y="2561934"/>
            <a:ext cx="3824140"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This needs to be executed from a prompt with network line of sight to your database server.</a:t>
            </a:r>
          </a:p>
        </p:txBody>
      </p:sp>
      <p:sp>
        <p:nvSpPr>
          <p:cNvPr id="11" name="TextBox 10">
            <a:extLst>
              <a:ext uri="{FF2B5EF4-FFF2-40B4-BE49-F238E27FC236}">
                <a16:creationId xmlns:a16="http://schemas.microsoft.com/office/drawing/2014/main" id="{322CD077-BEA2-3C44-6402-0802266F62FD}"/>
              </a:ext>
            </a:extLst>
          </p:cNvPr>
          <p:cNvSpPr txBox="1"/>
          <p:nvPr/>
        </p:nvSpPr>
        <p:spPr>
          <a:xfrm>
            <a:off x="1197571" y="3461111"/>
            <a:ext cx="3845769"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Therefore you'll be creating a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jumpbox</a:t>
            </a:r>
            <a:r>
              <a:rPr kumimoji="0" lang="en-US" sz="1600" b="0" i="0" u="none" strike="noStrike" kern="1200" cap="none" spc="0" normalizeH="0" baseline="0" noProof="0" dirty="0">
                <a:ln>
                  <a:noFill/>
                </a:ln>
                <a:solidFill>
                  <a:srgbClr val="000000"/>
                </a:solidFill>
                <a:effectLst/>
                <a:uLnTx/>
                <a:uFillTx/>
                <a:latin typeface="Segoe UI "/>
                <a:ea typeface="+mn-ea"/>
                <a:cs typeface="+mn-cs"/>
              </a:rPr>
              <a:t> in the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VNet</a:t>
            </a:r>
            <a:r>
              <a:rPr kumimoji="0" lang="en-US" sz="1600" b="0" i="0" u="none" strike="noStrike" kern="1200" cap="none" spc="0" normalizeH="0" baseline="0" noProof="0" dirty="0">
                <a:ln>
                  <a:noFill/>
                </a:ln>
                <a:solidFill>
                  <a:srgbClr val="000000"/>
                </a:solidFill>
                <a:effectLst/>
                <a:uLnTx/>
                <a:uFillTx/>
                <a:latin typeface="Segoe UI "/>
                <a:ea typeface="+mn-ea"/>
                <a:cs typeface="+mn-cs"/>
              </a:rPr>
              <a:t> and a bastion host for connecting to it. </a:t>
            </a:r>
          </a:p>
        </p:txBody>
      </p:sp>
      <p:sp>
        <p:nvSpPr>
          <p:cNvPr id="7" name="Rectangle: Rounded Corners 6">
            <a:extLst>
              <a:ext uri="{FF2B5EF4-FFF2-40B4-BE49-F238E27FC236}">
                <a16:creationId xmlns:a16="http://schemas.microsoft.com/office/drawing/2014/main" id="{494DD106-3A22-19FB-598F-9986B2F6FA39}"/>
              </a:ext>
              <a:ext uri="{C183D7F6-B498-43B3-948B-1728B52AA6E4}">
                <adec:decorative xmlns:adec="http://schemas.microsoft.com/office/drawing/2017/decorative" val="1"/>
              </a:ext>
            </a:extLst>
          </p:cNvPr>
          <p:cNvSpPr/>
          <p:nvPr/>
        </p:nvSpPr>
        <p:spPr bwMode="auto">
          <a:xfrm>
            <a:off x="5279979" y="2051860"/>
            <a:ext cx="6912021" cy="3905250"/>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VM_NAME=</a:t>
            </a:r>
            <a:r>
              <a:rPr lang="en-IN" sz="1600" b="1" dirty="0" err="1">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jumpbox</a:t>
            </a: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APPNAME-$UNIQUEID</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VM_ADMIN=&lt;username&gt;</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VM_PASS=&lt;password&gt;</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err="1">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az</a:t>
            </a: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a:t>
            </a:r>
            <a:r>
              <a:rPr lang="en-IN" sz="1600" b="1" dirty="0" err="1">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vm</a:t>
            </a: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create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name $VM_NAME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admin-username $VM_ADMIN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admin-password $VM_PASS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image Debian11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resource-group $RESOURCE_GROUP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a:t>
            </a:r>
            <a:r>
              <a:rPr lang="en-IN" sz="1600" b="1" dirty="0" err="1">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vnet</a:t>
            </a: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name $VIRTUAL_NETWORK_NAME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subnet $JUMPBOX_SUBNET_NAME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generate-</a:t>
            </a:r>
            <a:r>
              <a:rPr lang="en-IN" sz="1600" b="1" dirty="0" err="1">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ssh</a:t>
            </a: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keys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output </a:t>
            </a:r>
            <a:r>
              <a:rPr lang="en-IN" sz="1600" b="1" dirty="0" err="1">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json</a:t>
            </a: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a:t>
            </a:r>
          </a:p>
          <a:p>
            <a:pPr marL="0" marR="0" lvl="0" indent="0" algn="l" defTabSz="932472" rtl="0" eaLnBrk="1" fontAlgn="base" latinLnBrk="0" hangingPunct="1">
              <a:lnSpc>
                <a:spcPct val="100000"/>
              </a:lnSpc>
              <a:spcBef>
                <a:spcPct val="0"/>
              </a:spcBef>
              <a:spcAft>
                <a:spcPct val="0"/>
              </a:spcAft>
              <a:buClrTx/>
              <a:buSzTx/>
              <a:buFontTx/>
              <a:buNone/>
              <a:tabLst/>
              <a:defRPr/>
            </a:pPr>
            <a:r>
              <a:rPr lang="en-IN" sz="1600" b="1" dirty="0">
                <a:solidFill>
                  <a:srgbClr val="444444"/>
                </a:solidFill>
                <a:latin typeface="Courier New" panose="02070309020205020404" pitchFamily="49" charset="0"/>
                <a:ea typeface="Cascadia Code Light" panose="020B0609020000020004" pitchFamily="49" charset="0"/>
                <a:cs typeface="Courier New" panose="02070309020205020404" pitchFamily="49" charset="0"/>
              </a:rPr>
              <a:t>    --verbose</a:t>
            </a:r>
            <a:endParaRPr lang="en-IN" sz="1600" b="1" dirty="0">
              <a:solidFill>
                <a:srgbClr val="FF0000"/>
              </a:solidFill>
              <a:latin typeface="Courier New" panose="02070309020205020404" pitchFamily="49" charset="0"/>
              <a:ea typeface="Cascadia Code Light" panose="020B0609020000020004" pitchFamily="49" charset="0"/>
              <a:cs typeface="Courier New" panose="02070309020205020404" pitchFamily="49" charset="0"/>
            </a:endParaRPr>
          </a:p>
        </p:txBody>
      </p:sp>
      <p:sp>
        <p:nvSpPr>
          <p:cNvPr id="8" name="Freeform: Shape 11">
            <a:extLst>
              <a:ext uri="{FF2B5EF4-FFF2-40B4-BE49-F238E27FC236}">
                <a16:creationId xmlns:a16="http://schemas.microsoft.com/office/drawing/2014/main" id="{7A50C7F6-5FA3-DB7B-0374-ABD0A49C0014}"/>
              </a:ext>
              <a:ext uri="{C183D7F6-B498-43B3-948B-1728B52AA6E4}">
                <adec:decorative xmlns:adec="http://schemas.microsoft.com/office/drawing/2017/decorative" val="1"/>
              </a:ext>
            </a:extLst>
          </p:cNvPr>
          <p:cNvSpPr>
            <a:spLocks/>
          </p:cNvSpPr>
          <p:nvPr/>
        </p:nvSpPr>
        <p:spPr bwMode="auto">
          <a:xfrm>
            <a:off x="646484" y="2658570"/>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TextBox 8">
            <a:extLst>
              <a:ext uri="{FF2B5EF4-FFF2-40B4-BE49-F238E27FC236}">
                <a16:creationId xmlns:a16="http://schemas.microsoft.com/office/drawing/2014/main" id="{4875D053-5DEA-7D0A-3A82-D4610B9D2A7B}"/>
              </a:ext>
            </a:extLst>
          </p:cNvPr>
          <p:cNvSpPr txBox="1"/>
          <p:nvPr/>
        </p:nvSpPr>
        <p:spPr>
          <a:xfrm>
            <a:off x="1219200" y="4471155"/>
            <a:ext cx="3845769"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You can then execute the needed steps from the jump box.</a:t>
            </a:r>
          </a:p>
        </p:txBody>
      </p:sp>
      <p:sp>
        <p:nvSpPr>
          <p:cNvPr id="12" name="Freeform: Shape 11">
            <a:extLst>
              <a:ext uri="{FF2B5EF4-FFF2-40B4-BE49-F238E27FC236}">
                <a16:creationId xmlns:a16="http://schemas.microsoft.com/office/drawing/2014/main" id="{751487AB-3CFE-7EB3-A17B-F31FAB2EA898}"/>
              </a:ext>
              <a:ext uri="{C183D7F6-B498-43B3-948B-1728B52AA6E4}">
                <adec:decorative xmlns:adec="http://schemas.microsoft.com/office/drawing/2017/decorative" val="1"/>
              </a:ext>
            </a:extLst>
          </p:cNvPr>
          <p:cNvSpPr>
            <a:spLocks/>
          </p:cNvSpPr>
          <p:nvPr/>
        </p:nvSpPr>
        <p:spPr bwMode="auto">
          <a:xfrm>
            <a:off x="646484" y="3605553"/>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3" name="Freeform: Shape 11">
            <a:extLst>
              <a:ext uri="{FF2B5EF4-FFF2-40B4-BE49-F238E27FC236}">
                <a16:creationId xmlns:a16="http://schemas.microsoft.com/office/drawing/2014/main" id="{A063CDD2-7290-39BD-6997-31266B7B7E8B}"/>
              </a:ext>
              <a:ext uri="{C183D7F6-B498-43B3-948B-1728B52AA6E4}">
                <adec:decorative xmlns:adec="http://schemas.microsoft.com/office/drawing/2017/decorative" val="1"/>
              </a:ext>
            </a:extLst>
          </p:cNvPr>
          <p:cNvSpPr>
            <a:spLocks/>
          </p:cNvSpPr>
          <p:nvPr/>
        </p:nvSpPr>
        <p:spPr bwMode="auto">
          <a:xfrm>
            <a:off x="646484" y="4552536"/>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7252478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Top Corners Rounded 5">
            <a:extLst>
              <a:ext uri="{FF2B5EF4-FFF2-40B4-BE49-F238E27FC236}">
                <a16:creationId xmlns:a16="http://schemas.microsoft.com/office/drawing/2014/main" id="{E0975425-15DF-F36C-E2F7-343A5600AD8C}"/>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7" name="Rectangle 6">
            <a:extLst>
              <a:ext uri="{FF2B5EF4-FFF2-40B4-BE49-F238E27FC236}">
                <a16:creationId xmlns:a16="http://schemas.microsoft.com/office/drawing/2014/main" id="{270CC42A-5877-6839-44F9-896BD9EAF61C}"/>
              </a:ext>
              <a:ext uri="{C183D7F6-B498-43B3-948B-1728B52AA6E4}">
                <adec:decorative xmlns:adec="http://schemas.microsoft.com/office/drawing/2017/decorative" val="1"/>
              </a:ext>
            </a:extLst>
          </p:cNvPr>
          <p:cNvSpPr/>
          <p:nvPr/>
        </p:nvSpPr>
        <p:spPr bwMode="auto">
          <a:xfrm>
            <a:off x="0" y="2223264"/>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 name="Title 1">
            <a:extLst>
              <a:ext uri="{FF2B5EF4-FFF2-40B4-BE49-F238E27FC236}">
                <a16:creationId xmlns:a16="http://schemas.microsoft.com/office/drawing/2014/main" id="{60702852-4173-94D0-3C0D-409854B4EC15}"/>
              </a:ext>
            </a:extLst>
          </p:cNvPr>
          <p:cNvSpPr>
            <a:spLocks noGrp="1"/>
          </p:cNvSpPr>
          <p:nvPr>
            <p:ph type="title"/>
          </p:nvPr>
        </p:nvSpPr>
        <p:spPr/>
        <p:txBody>
          <a:bodyPr/>
          <a:lstStyle/>
          <a:p>
            <a:r>
              <a:rPr lang="en-US" noProof="0"/>
              <a:t>Secure Key Vault with a Private Endpoint</a:t>
            </a:r>
            <a:endParaRPr lang="en-IN"/>
          </a:p>
        </p:txBody>
      </p:sp>
      <p:sp>
        <p:nvSpPr>
          <p:cNvPr id="4" name="TextBox 3">
            <a:extLst>
              <a:ext uri="{FF2B5EF4-FFF2-40B4-BE49-F238E27FC236}">
                <a16:creationId xmlns:a16="http://schemas.microsoft.com/office/drawing/2014/main" id="{0FB7E2DA-D156-8B3C-A7CC-2643F4EA1717}"/>
              </a:ext>
            </a:extLst>
          </p:cNvPr>
          <p:cNvSpPr txBox="1"/>
          <p:nvPr/>
        </p:nvSpPr>
        <p:spPr>
          <a:xfrm>
            <a:off x="588264"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a setup to protect the Key Vault content.</a:t>
            </a:r>
          </a:p>
        </p:txBody>
      </p:sp>
      <p:sp>
        <p:nvSpPr>
          <p:cNvPr id="39" name="TextBox 38">
            <a:extLst>
              <a:ext uri="{FF2B5EF4-FFF2-40B4-BE49-F238E27FC236}">
                <a16:creationId xmlns:a16="http://schemas.microsoft.com/office/drawing/2014/main" id="{FDDEB70C-02D8-3DD8-590B-4E1BD8F9715A}"/>
              </a:ext>
            </a:extLst>
          </p:cNvPr>
          <p:cNvSpPr txBox="1"/>
          <p:nvPr/>
        </p:nvSpPr>
        <p:spPr>
          <a:xfrm>
            <a:off x="1461522" y="2607729"/>
            <a:ext cx="3485274"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
                <a:ea typeface="+mn-ea"/>
                <a:cs typeface="+mn-cs"/>
              </a:rPr>
              <a:t>Create a private endpoint for the Key Vault instance.</a:t>
            </a:r>
          </a:p>
        </p:txBody>
      </p:sp>
      <p:grpSp>
        <p:nvGrpSpPr>
          <p:cNvPr id="9" name="Group 8">
            <a:extLst>
              <a:ext uri="{FF2B5EF4-FFF2-40B4-BE49-F238E27FC236}">
                <a16:creationId xmlns:a16="http://schemas.microsoft.com/office/drawing/2014/main" id="{8BEA9F60-C0AA-2404-E3FD-FF469D4E331A}"/>
              </a:ext>
              <a:ext uri="{C183D7F6-B498-43B3-948B-1728B52AA6E4}">
                <adec:decorative xmlns:adec="http://schemas.microsoft.com/office/drawing/2017/decorative" val="1"/>
              </a:ext>
            </a:extLst>
          </p:cNvPr>
          <p:cNvGrpSpPr/>
          <p:nvPr/>
        </p:nvGrpSpPr>
        <p:grpSpPr>
          <a:xfrm>
            <a:off x="865646" y="2696149"/>
            <a:ext cx="321804" cy="315602"/>
            <a:chOff x="4863421" y="201635"/>
            <a:chExt cx="1828801" cy="1828801"/>
          </a:xfrm>
        </p:grpSpPr>
        <p:sp>
          <p:nvSpPr>
            <p:cNvPr id="10" name="Freeform: Shape 11">
              <a:extLst>
                <a:ext uri="{FF2B5EF4-FFF2-40B4-BE49-F238E27FC236}">
                  <a16:creationId xmlns:a16="http://schemas.microsoft.com/office/drawing/2014/main" id="{750025F3-5905-2A9A-0D39-E11ABF6ECBE4}"/>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000000"/>
                </a:solidFill>
                <a:effectLst/>
                <a:uLnTx/>
                <a:uFillTx/>
                <a:latin typeface="Segoe UI "/>
                <a:ea typeface="Segoe UI" pitchFamily="34" charset="0"/>
                <a:cs typeface="Segoe UI" pitchFamily="34" charset="0"/>
              </a:endParaRPr>
            </a:p>
          </p:txBody>
        </p:sp>
        <p:sp>
          <p:nvSpPr>
            <p:cNvPr id="11" name="Oval 10">
              <a:extLst>
                <a:ext uri="{FF2B5EF4-FFF2-40B4-BE49-F238E27FC236}">
                  <a16:creationId xmlns:a16="http://schemas.microsoft.com/office/drawing/2014/main" id="{A04B7985-177D-B704-8719-A9203932FA67}"/>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
                  <a:ea typeface="Segoe UI" pitchFamily="34" charset="0"/>
                  <a:cs typeface="Segoe UI" pitchFamily="34" charset="0"/>
                </a:rPr>
                <a:t>1</a:t>
              </a:r>
            </a:p>
          </p:txBody>
        </p:sp>
      </p:grpSp>
      <p:sp>
        <p:nvSpPr>
          <p:cNvPr id="12" name="TextBox 11">
            <a:extLst>
              <a:ext uri="{FF2B5EF4-FFF2-40B4-BE49-F238E27FC236}">
                <a16:creationId xmlns:a16="http://schemas.microsoft.com/office/drawing/2014/main" id="{156F9E9A-EB43-4528-D687-0C2AF8B56B9B}"/>
              </a:ext>
            </a:extLst>
          </p:cNvPr>
          <p:cNvSpPr txBox="1"/>
          <p:nvPr/>
        </p:nvSpPr>
        <p:spPr>
          <a:xfrm>
            <a:off x="1461523" y="3640432"/>
            <a:ext cx="3494897"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
                <a:ea typeface="+mn-ea"/>
                <a:cs typeface="+mn-cs"/>
              </a:rPr>
              <a:t>Create a private DNS zone, this time for </a:t>
            </a:r>
            <a:r>
              <a:rPr kumimoji="0" lang="en-US" sz="1600" b="1" i="0" u="none" strike="noStrike" kern="1200" cap="none" spc="0" normalizeH="0" baseline="0" noProof="0">
                <a:ln>
                  <a:noFill/>
                </a:ln>
                <a:solidFill>
                  <a:srgbClr val="000000"/>
                </a:solidFill>
                <a:effectLst/>
                <a:uLnTx/>
                <a:uFillTx/>
                <a:latin typeface="Segoe UI "/>
                <a:ea typeface="+mn-ea"/>
                <a:cs typeface="+mn-cs"/>
              </a:rPr>
              <a:t>privatelink.vaultcore.azure.net.</a:t>
            </a:r>
          </a:p>
        </p:txBody>
      </p:sp>
      <p:grpSp>
        <p:nvGrpSpPr>
          <p:cNvPr id="13" name="Group 12">
            <a:extLst>
              <a:ext uri="{FF2B5EF4-FFF2-40B4-BE49-F238E27FC236}">
                <a16:creationId xmlns:a16="http://schemas.microsoft.com/office/drawing/2014/main" id="{9802DCAB-313A-FD7C-2E7D-244497209022}"/>
              </a:ext>
              <a:ext uri="{C183D7F6-B498-43B3-948B-1728B52AA6E4}">
                <adec:decorative xmlns:adec="http://schemas.microsoft.com/office/drawing/2017/decorative" val="1"/>
              </a:ext>
            </a:extLst>
          </p:cNvPr>
          <p:cNvGrpSpPr/>
          <p:nvPr/>
        </p:nvGrpSpPr>
        <p:grpSpPr>
          <a:xfrm>
            <a:off x="865647" y="3728852"/>
            <a:ext cx="321804" cy="315602"/>
            <a:chOff x="4863421" y="201635"/>
            <a:chExt cx="1828801" cy="1828801"/>
          </a:xfrm>
        </p:grpSpPr>
        <p:sp>
          <p:nvSpPr>
            <p:cNvPr id="14" name="Freeform: Shape 11">
              <a:extLst>
                <a:ext uri="{FF2B5EF4-FFF2-40B4-BE49-F238E27FC236}">
                  <a16:creationId xmlns:a16="http://schemas.microsoft.com/office/drawing/2014/main" id="{D52359AA-922E-024F-EB2F-30D25D97EC5E}"/>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000000"/>
                </a:solidFill>
                <a:effectLst/>
                <a:uLnTx/>
                <a:uFillTx/>
                <a:latin typeface="Segoe UI "/>
                <a:ea typeface="Segoe UI" pitchFamily="34" charset="0"/>
                <a:cs typeface="Segoe UI" pitchFamily="34" charset="0"/>
              </a:endParaRPr>
            </a:p>
          </p:txBody>
        </p:sp>
        <p:sp>
          <p:nvSpPr>
            <p:cNvPr id="15" name="Oval 14">
              <a:extLst>
                <a:ext uri="{FF2B5EF4-FFF2-40B4-BE49-F238E27FC236}">
                  <a16:creationId xmlns:a16="http://schemas.microsoft.com/office/drawing/2014/main" id="{B6FEC989-65CE-95C5-1BCD-546608C5C56C}"/>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
                  <a:ea typeface="Segoe UI" pitchFamily="34" charset="0"/>
                  <a:cs typeface="Segoe UI" pitchFamily="34" charset="0"/>
                </a:rPr>
                <a:t>2</a:t>
              </a:r>
            </a:p>
          </p:txBody>
        </p:sp>
      </p:grpSp>
      <p:sp>
        <p:nvSpPr>
          <p:cNvPr id="16" name="TextBox 15">
            <a:extLst>
              <a:ext uri="{FF2B5EF4-FFF2-40B4-BE49-F238E27FC236}">
                <a16:creationId xmlns:a16="http://schemas.microsoft.com/office/drawing/2014/main" id="{7BD30FE6-B045-5F3C-8DF9-6E8B82064010}"/>
              </a:ext>
            </a:extLst>
          </p:cNvPr>
          <p:cNvSpPr txBox="1"/>
          <p:nvPr/>
        </p:nvSpPr>
        <p:spPr>
          <a:xfrm>
            <a:off x="1461523" y="4647546"/>
            <a:ext cx="3494897"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
                <a:ea typeface="+mn-ea"/>
                <a:cs typeface="+mn-cs"/>
              </a:rPr>
              <a:t>Create the A record to link the Azure Key Vault instance name to the IP address of the private endpoint.</a:t>
            </a:r>
          </a:p>
        </p:txBody>
      </p:sp>
      <p:grpSp>
        <p:nvGrpSpPr>
          <p:cNvPr id="17" name="Group 16">
            <a:extLst>
              <a:ext uri="{FF2B5EF4-FFF2-40B4-BE49-F238E27FC236}">
                <a16:creationId xmlns:a16="http://schemas.microsoft.com/office/drawing/2014/main" id="{B1DC779C-B325-EB80-9F0A-1465588C4F67}"/>
              </a:ext>
              <a:ext uri="{C183D7F6-B498-43B3-948B-1728B52AA6E4}">
                <adec:decorative xmlns:adec="http://schemas.microsoft.com/office/drawing/2017/decorative" val="1"/>
              </a:ext>
            </a:extLst>
          </p:cNvPr>
          <p:cNvGrpSpPr/>
          <p:nvPr/>
        </p:nvGrpSpPr>
        <p:grpSpPr>
          <a:xfrm>
            <a:off x="865647" y="4859077"/>
            <a:ext cx="321804" cy="315602"/>
            <a:chOff x="4863421" y="201635"/>
            <a:chExt cx="1828801" cy="1828801"/>
          </a:xfrm>
        </p:grpSpPr>
        <p:sp>
          <p:nvSpPr>
            <p:cNvPr id="18" name="Freeform: Shape 11">
              <a:extLst>
                <a:ext uri="{FF2B5EF4-FFF2-40B4-BE49-F238E27FC236}">
                  <a16:creationId xmlns:a16="http://schemas.microsoft.com/office/drawing/2014/main" id="{06730911-F6F4-1C9F-8FAC-5E05E210B6D5}"/>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000000"/>
                </a:solidFill>
                <a:effectLst/>
                <a:uLnTx/>
                <a:uFillTx/>
                <a:latin typeface="Segoe UI "/>
                <a:ea typeface="Segoe UI" pitchFamily="34" charset="0"/>
                <a:cs typeface="Segoe UI" pitchFamily="34" charset="0"/>
              </a:endParaRPr>
            </a:p>
          </p:txBody>
        </p:sp>
        <p:sp>
          <p:nvSpPr>
            <p:cNvPr id="19" name="Oval 18">
              <a:extLst>
                <a:ext uri="{FF2B5EF4-FFF2-40B4-BE49-F238E27FC236}">
                  <a16:creationId xmlns:a16="http://schemas.microsoft.com/office/drawing/2014/main" id="{0ABDBF45-9535-47E4-6A3B-19493C3F74A7}"/>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
                  <a:ea typeface="Segoe UI" pitchFamily="34" charset="0"/>
                  <a:cs typeface="Segoe UI" pitchFamily="34" charset="0"/>
                </a:rPr>
                <a:t>3</a:t>
              </a:r>
            </a:p>
          </p:txBody>
        </p:sp>
      </p:grpSp>
      <p:pic>
        <p:nvPicPr>
          <p:cNvPr id="37" name="Picture 36">
            <a:extLst>
              <a:ext uri="{FF2B5EF4-FFF2-40B4-BE49-F238E27FC236}">
                <a16:creationId xmlns:a16="http://schemas.microsoft.com/office/drawing/2014/main" id="{C16B656F-1200-E435-B7C1-D671B4D69071}"/>
              </a:ext>
              <a:ext uri="{C183D7F6-B498-43B3-948B-1728B52AA6E4}">
                <adec:decorative xmlns:adec="http://schemas.microsoft.com/office/drawing/2017/decorative" val="1"/>
              </a:ext>
            </a:extLst>
          </p:cNvPr>
          <p:cNvPicPr>
            <a:picLocks noChangeAspect="1"/>
          </p:cNvPicPr>
          <p:nvPr/>
        </p:nvPicPr>
        <p:blipFill rotWithShape="1">
          <a:blip r:embed="rId4"/>
          <a:srcRect l="-1582" t="820" r="1594" b="-813"/>
          <a:stretch/>
        </p:blipFill>
        <p:spPr>
          <a:xfrm>
            <a:off x="5401901" y="2039444"/>
            <a:ext cx="5945902" cy="3905577"/>
          </a:xfrm>
          <a:custGeom>
            <a:avLst/>
            <a:gdLst>
              <a:gd name="connsiteX0" fmla="*/ 210295 w 5945902"/>
              <a:gd name="connsiteY0" fmla="*/ 0 h 3905577"/>
              <a:gd name="connsiteX1" fmla="*/ 5734865 w 5945902"/>
              <a:gd name="connsiteY1" fmla="*/ 0 h 3905577"/>
              <a:gd name="connsiteX2" fmla="*/ 5945902 w 5945902"/>
              <a:gd name="connsiteY2" fmla="*/ 211030 h 3905577"/>
              <a:gd name="connsiteX3" fmla="*/ 5945902 w 5945902"/>
              <a:gd name="connsiteY3" fmla="*/ 3694803 h 3905577"/>
              <a:gd name="connsiteX4" fmla="*/ 5777399 w 5945902"/>
              <a:gd name="connsiteY4" fmla="*/ 3901546 h 3905577"/>
              <a:gd name="connsiteX5" fmla="*/ 5737405 w 5945902"/>
              <a:gd name="connsiteY5" fmla="*/ 3905577 h 3905577"/>
              <a:gd name="connsiteX6" fmla="*/ 207756 w 5945902"/>
              <a:gd name="connsiteY6" fmla="*/ 3905577 h 3905577"/>
              <a:gd name="connsiteX7" fmla="*/ 167766 w 5945902"/>
              <a:gd name="connsiteY7" fmla="*/ 3901546 h 3905577"/>
              <a:gd name="connsiteX8" fmla="*/ 15850 w 5945902"/>
              <a:gd name="connsiteY8" fmla="*/ 3776945 h 3905577"/>
              <a:gd name="connsiteX9" fmla="*/ 0 w 5945902"/>
              <a:gd name="connsiteY9" fmla="*/ 3698439 h 3905577"/>
              <a:gd name="connsiteX10" fmla="*/ 0 w 5945902"/>
              <a:gd name="connsiteY10" fmla="*/ 207395 h 3905577"/>
              <a:gd name="connsiteX11" fmla="*/ 15850 w 5945902"/>
              <a:gd name="connsiteY11" fmla="*/ 128888 h 3905577"/>
              <a:gd name="connsiteX12" fmla="*/ 210295 w 5945902"/>
              <a:gd name="connsiteY12" fmla="*/ 0 h 390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45902" h="3905577">
                <a:moveTo>
                  <a:pt x="210295" y="0"/>
                </a:moveTo>
                <a:lnTo>
                  <a:pt x="5734865" y="0"/>
                </a:lnTo>
                <a:cubicBezTo>
                  <a:pt x="5851428" y="0"/>
                  <a:pt x="5945902" y="94481"/>
                  <a:pt x="5945902" y="211030"/>
                </a:cubicBezTo>
                <a:lnTo>
                  <a:pt x="5945902" y="3694803"/>
                </a:lnTo>
                <a:cubicBezTo>
                  <a:pt x="5945902" y="3796783"/>
                  <a:pt x="5873570" y="3881868"/>
                  <a:pt x="5777399" y="3901546"/>
                </a:cubicBezTo>
                <a:lnTo>
                  <a:pt x="5737405" y="3905577"/>
                </a:lnTo>
                <a:lnTo>
                  <a:pt x="207756" y="3905577"/>
                </a:lnTo>
                <a:lnTo>
                  <a:pt x="167766" y="3901546"/>
                </a:lnTo>
                <a:cubicBezTo>
                  <a:pt x="99078" y="3887490"/>
                  <a:pt x="42547" y="3840063"/>
                  <a:pt x="15850" y="3776945"/>
                </a:cubicBezTo>
                <a:lnTo>
                  <a:pt x="0" y="3698439"/>
                </a:lnTo>
                <a:lnTo>
                  <a:pt x="0" y="207395"/>
                </a:lnTo>
                <a:lnTo>
                  <a:pt x="15850" y="128888"/>
                </a:lnTo>
                <a:cubicBezTo>
                  <a:pt x="47886" y="53146"/>
                  <a:pt x="122884" y="0"/>
                  <a:pt x="210295" y="0"/>
                </a:cubicBezTo>
                <a:close/>
              </a:path>
            </a:pathLst>
          </a:custGeom>
          <a:solidFill>
            <a:srgbClr val="F0F0F0"/>
          </a:solidFill>
        </p:spPr>
      </p:pic>
    </p:spTree>
    <p:custDataLst>
      <p:tags r:id="rId1"/>
    </p:custDataLst>
    <p:extLst>
      <p:ext uri="{BB962C8B-B14F-4D97-AF65-F5344CB8AC3E}">
        <p14:creationId xmlns:p14="http://schemas.microsoft.com/office/powerpoint/2010/main" val="297181991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CE63D6-B307-A34E-84B7-70DC18CFF438}"/>
              </a:ext>
            </a:extLst>
          </p:cNvPr>
          <p:cNvSpPr>
            <a:spLocks noGrp="1"/>
          </p:cNvSpPr>
          <p:nvPr>
            <p:ph type="title"/>
          </p:nvPr>
        </p:nvSpPr>
        <p:spPr/>
        <p:txBody>
          <a:bodyPr/>
          <a:lstStyle/>
          <a:p>
            <a:r>
              <a:rPr lang="en-US" noProof="0"/>
              <a:t>Test the configuration</a:t>
            </a:r>
            <a:endParaRPr lang="en-IN"/>
          </a:p>
        </p:txBody>
      </p:sp>
      <p:sp>
        <p:nvSpPr>
          <p:cNvPr id="6" name="Rectangle 5">
            <a:extLst>
              <a:ext uri="{FF2B5EF4-FFF2-40B4-BE49-F238E27FC236}">
                <a16:creationId xmlns:a16="http://schemas.microsoft.com/office/drawing/2014/main" id="{3E07336D-2E51-9838-3BBF-3E8F4A2A66F2}"/>
              </a:ext>
            </a:extLst>
          </p:cNvPr>
          <p:cNvSpPr/>
          <p:nvPr/>
        </p:nvSpPr>
        <p:spPr bwMode="auto">
          <a:xfrm>
            <a:off x="0" y="1357117"/>
            <a:ext cx="12192000" cy="1631216"/>
          </a:xfrm>
          <a:prstGeom prst="rect">
            <a:avLst/>
          </a:pr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182880" tIns="274320" rIns="179285" bIns="134464" numCol="1" spcCol="1270" anchor="t" anchorCtr="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As the final step of this exercise, you should once again test your setup. </a:t>
            </a:r>
          </a:p>
        </p:txBody>
      </p:sp>
      <p:sp>
        <p:nvSpPr>
          <p:cNvPr id="7" name="Rectangle: Rounded Corners 6">
            <a:extLst>
              <a:ext uri="{FF2B5EF4-FFF2-40B4-BE49-F238E27FC236}">
                <a16:creationId xmlns:a16="http://schemas.microsoft.com/office/drawing/2014/main" id="{66C7F048-0331-A91D-309C-E3F5092B8334}"/>
              </a:ext>
              <a:ext uri="{C183D7F6-B498-43B3-948B-1728B52AA6E4}">
                <adec:decorative xmlns:adec="http://schemas.microsoft.com/office/drawing/2017/decorative" val="1"/>
              </a:ext>
            </a:extLst>
          </p:cNvPr>
          <p:cNvSpPr/>
          <p:nvPr/>
        </p:nvSpPr>
        <p:spPr bwMode="auto">
          <a:xfrm>
            <a:off x="585218" y="2293964"/>
            <a:ext cx="11018520" cy="3441898"/>
          </a:xfrm>
          <a:prstGeom prst="roundRect">
            <a:avLst>
              <a:gd name="adj" fmla="val 6843"/>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8" name="TextBox 7">
            <a:extLst>
              <a:ext uri="{FF2B5EF4-FFF2-40B4-BE49-F238E27FC236}">
                <a16:creationId xmlns:a16="http://schemas.microsoft.com/office/drawing/2014/main" id="{C6C26DFA-0594-A0D7-81F9-258742C2E992}"/>
              </a:ext>
            </a:extLst>
          </p:cNvPr>
          <p:cNvSpPr txBox="1"/>
          <p:nvPr/>
        </p:nvSpPr>
        <p:spPr>
          <a:xfrm>
            <a:off x="1038923" y="3684197"/>
            <a:ext cx="4581826" cy="1482885"/>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
                <a:cs typeface="Segoe UI" pitchFamily="34" charset="0"/>
              </a:rPr>
              <a:t>You should still be able to navigate to your application through the custom domain that you configured on your Application Gateway and view the listing of owners and veterinarians.</a:t>
            </a:r>
          </a:p>
        </p:txBody>
      </p:sp>
      <p:sp>
        <p:nvSpPr>
          <p:cNvPr id="9" name="TextBox 8">
            <a:extLst>
              <a:ext uri="{FF2B5EF4-FFF2-40B4-BE49-F238E27FC236}">
                <a16:creationId xmlns:a16="http://schemas.microsoft.com/office/drawing/2014/main" id="{B1481CAF-3C17-9382-87BE-3EE743AB8362}"/>
              </a:ext>
            </a:extLst>
          </p:cNvPr>
          <p:cNvSpPr txBox="1"/>
          <p:nvPr/>
        </p:nvSpPr>
        <p:spPr>
          <a:xfrm>
            <a:off x="6565144" y="3684197"/>
            <a:ext cx="4581826" cy="1482885"/>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cs typeface="Segoe UI" pitchFamily="34" charset="0"/>
              </a:rPr>
              <a:t>If you don’t see any data when navigating the menu options in the application, try redeploying the </a:t>
            </a:r>
            <a:r>
              <a:rPr kumimoji="0" lang="en-US" sz="2000" b="1" i="0" u="none" strike="noStrike" kern="1200" cap="none" spc="0" normalizeH="0" baseline="0" noProof="0" dirty="0">
                <a:ln>
                  <a:noFill/>
                </a:ln>
                <a:solidFill>
                  <a:srgbClr val="000000"/>
                </a:solidFill>
                <a:effectLst/>
                <a:uLnTx/>
                <a:uFillTx/>
                <a:latin typeface="Segoe UI "/>
                <a:cs typeface="Segoe UI" pitchFamily="34" charset="0"/>
              </a:rPr>
              <a:t>customers</a:t>
            </a:r>
            <a:r>
              <a:rPr kumimoji="0" lang="en-US" sz="2000" b="0" i="0" u="none" strike="noStrike" kern="1200" cap="none" spc="0" normalizeH="0" baseline="0" noProof="0" dirty="0">
                <a:ln>
                  <a:noFill/>
                </a:ln>
                <a:solidFill>
                  <a:srgbClr val="000000"/>
                </a:solidFill>
                <a:effectLst/>
                <a:uLnTx/>
                <a:uFillTx/>
                <a:latin typeface="Segoe UI "/>
                <a:cs typeface="Segoe UI" pitchFamily="34" charset="0"/>
              </a:rPr>
              <a:t>, </a:t>
            </a:r>
            <a:r>
              <a:rPr kumimoji="0" lang="en-US" sz="2000" b="1" i="0" u="none" strike="noStrike" kern="1200" cap="none" spc="0" normalizeH="0" baseline="0" noProof="0" dirty="0">
                <a:ln>
                  <a:noFill/>
                </a:ln>
                <a:solidFill>
                  <a:srgbClr val="000000"/>
                </a:solidFill>
                <a:effectLst/>
                <a:uLnTx/>
                <a:uFillTx/>
                <a:latin typeface="Segoe UI "/>
                <a:cs typeface="Segoe UI" pitchFamily="34" charset="0"/>
              </a:rPr>
              <a:t>visits</a:t>
            </a:r>
            <a:r>
              <a:rPr kumimoji="0" lang="en-US" sz="2000" i="0" u="none" strike="noStrike" kern="1200" cap="none" spc="0" normalizeH="0" baseline="0" noProof="0" dirty="0">
                <a:ln>
                  <a:noFill/>
                </a:ln>
                <a:solidFill>
                  <a:srgbClr val="000000"/>
                </a:solidFill>
                <a:effectLst/>
                <a:uLnTx/>
                <a:uFillTx/>
                <a:latin typeface="Segoe UI "/>
                <a:cs typeface="Segoe UI" pitchFamily="34" charset="0"/>
              </a:rPr>
              <a:t>,</a:t>
            </a:r>
            <a:r>
              <a:rPr kumimoji="0" lang="en-US" sz="2000" b="0" i="0" u="none" strike="noStrike" kern="1200" cap="none" spc="0" normalizeH="0" baseline="0" noProof="0" dirty="0">
                <a:ln>
                  <a:noFill/>
                </a:ln>
                <a:solidFill>
                  <a:srgbClr val="000000"/>
                </a:solidFill>
                <a:effectLst/>
                <a:uLnTx/>
                <a:uFillTx/>
                <a:latin typeface="Segoe UI "/>
                <a:cs typeface="Segoe UI" pitchFamily="34" charset="0"/>
              </a:rPr>
              <a:t> and </a:t>
            </a:r>
            <a:r>
              <a:rPr kumimoji="0" lang="en-US" sz="2000" b="1" i="0" u="none" strike="noStrike" kern="1200" cap="none" spc="0" normalizeH="0" baseline="0" noProof="0" dirty="0">
                <a:ln>
                  <a:noFill/>
                </a:ln>
                <a:solidFill>
                  <a:srgbClr val="000000"/>
                </a:solidFill>
                <a:effectLst/>
                <a:uLnTx/>
                <a:uFillTx/>
                <a:latin typeface="Segoe UI "/>
                <a:cs typeface="Segoe UI" pitchFamily="34" charset="0"/>
              </a:rPr>
              <a:t>vets</a:t>
            </a:r>
            <a:r>
              <a:rPr kumimoji="0" lang="en-US" sz="2000" b="0" i="0" u="none" strike="noStrike" kern="1200" cap="none" spc="0" normalizeH="0" baseline="0" noProof="0" dirty="0">
                <a:ln>
                  <a:noFill/>
                </a:ln>
                <a:solidFill>
                  <a:srgbClr val="000000"/>
                </a:solidFill>
                <a:effectLst/>
                <a:uLnTx/>
                <a:uFillTx/>
                <a:latin typeface="Segoe UI "/>
                <a:cs typeface="Segoe UI" pitchFamily="34" charset="0"/>
              </a:rPr>
              <a:t> apps again to Azure Spring Apps Enterprise.</a:t>
            </a:r>
          </a:p>
        </p:txBody>
      </p:sp>
      <p:grpSp>
        <p:nvGrpSpPr>
          <p:cNvPr id="14" name="Group 13">
            <a:extLst>
              <a:ext uri="{FF2B5EF4-FFF2-40B4-BE49-F238E27FC236}">
                <a16:creationId xmlns:a16="http://schemas.microsoft.com/office/drawing/2014/main" id="{7CBF70E1-0879-0505-0737-7C2C4ABC9F7B}"/>
              </a:ext>
              <a:ext uri="{C183D7F6-B498-43B3-948B-1728B52AA6E4}">
                <adec:decorative xmlns:adec="http://schemas.microsoft.com/office/drawing/2017/decorative" val="1"/>
              </a:ext>
            </a:extLst>
          </p:cNvPr>
          <p:cNvGrpSpPr/>
          <p:nvPr/>
        </p:nvGrpSpPr>
        <p:grpSpPr>
          <a:xfrm>
            <a:off x="8423114" y="2593232"/>
            <a:ext cx="865887" cy="865887"/>
            <a:chOff x="4863421" y="201635"/>
            <a:chExt cx="1828801" cy="1828801"/>
          </a:xfrm>
        </p:grpSpPr>
        <p:sp>
          <p:nvSpPr>
            <p:cNvPr id="15" name="Freeform: Shape 11">
              <a:extLst>
                <a:ext uri="{FF2B5EF4-FFF2-40B4-BE49-F238E27FC236}">
                  <a16:creationId xmlns:a16="http://schemas.microsoft.com/office/drawing/2014/main" id="{4E5DA91C-2CAD-754C-2459-AB1EBAC94B32}"/>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15E3C758-8143-DBF6-E977-5570EE578766}"/>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DD97B52A-FF7C-6CE3-229B-F3C2081D36A1}"/>
              </a:ext>
              <a:ext uri="{C183D7F6-B498-43B3-948B-1728B52AA6E4}">
                <adec:decorative xmlns:adec="http://schemas.microsoft.com/office/drawing/2017/decorative" val="1"/>
              </a:ext>
            </a:extLst>
          </p:cNvPr>
          <p:cNvGrpSpPr/>
          <p:nvPr/>
        </p:nvGrpSpPr>
        <p:grpSpPr>
          <a:xfrm>
            <a:off x="2896893" y="2593232"/>
            <a:ext cx="865887" cy="865887"/>
            <a:chOff x="4863421" y="201635"/>
            <a:chExt cx="1828801" cy="1828801"/>
          </a:xfrm>
        </p:grpSpPr>
        <p:sp>
          <p:nvSpPr>
            <p:cNvPr id="18" name="Freeform: Shape 11">
              <a:extLst>
                <a:ext uri="{FF2B5EF4-FFF2-40B4-BE49-F238E27FC236}">
                  <a16:creationId xmlns:a16="http://schemas.microsoft.com/office/drawing/2014/main" id="{5EFAEEA3-46D4-5B97-9F0A-33BDFA75A8FC}"/>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9" name="Oval 18">
              <a:extLst>
                <a:ext uri="{FF2B5EF4-FFF2-40B4-BE49-F238E27FC236}">
                  <a16:creationId xmlns:a16="http://schemas.microsoft.com/office/drawing/2014/main" id="{C7E03908-4BF3-99EB-2CAB-D3846C43591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20" name="Straight Connector 19">
            <a:extLst>
              <a:ext uri="{FF2B5EF4-FFF2-40B4-BE49-F238E27FC236}">
                <a16:creationId xmlns:a16="http://schemas.microsoft.com/office/drawing/2014/main" id="{A35574EB-4B62-E962-72BE-C68408F00C17}"/>
              </a:ext>
              <a:ext uri="{C183D7F6-B498-43B3-948B-1728B52AA6E4}">
                <adec:decorative xmlns:adec="http://schemas.microsoft.com/office/drawing/2017/decorative" val="1"/>
              </a:ext>
            </a:extLst>
          </p:cNvPr>
          <p:cNvCxnSpPr>
            <a:cxnSpLocks/>
          </p:cNvCxnSpPr>
          <p:nvPr/>
        </p:nvCxnSpPr>
        <p:spPr>
          <a:xfrm>
            <a:off x="6092946" y="3728953"/>
            <a:ext cx="0" cy="1393372"/>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Graphic 59">
            <a:extLst>
              <a:ext uri="{FF2B5EF4-FFF2-40B4-BE49-F238E27FC236}">
                <a16:creationId xmlns:a16="http://schemas.microsoft.com/office/drawing/2014/main" id="{2531C828-E74C-E273-8FF9-4060AA7A1755}"/>
              </a:ext>
              <a:ext uri="{C183D7F6-B498-43B3-948B-1728B52AA6E4}">
                <adec:decorative xmlns:adec="http://schemas.microsoft.com/office/drawing/2017/decorative" val="1"/>
              </a:ext>
            </a:extLst>
          </p:cNvPr>
          <p:cNvSpPr/>
          <p:nvPr/>
        </p:nvSpPr>
        <p:spPr>
          <a:xfrm>
            <a:off x="3138889" y="2835228"/>
            <a:ext cx="381894" cy="381894"/>
          </a:xfrm>
          <a:custGeom>
            <a:avLst/>
            <a:gdLst>
              <a:gd name="connsiteX0" fmla="*/ 486913 w 486912"/>
              <a:gd name="connsiteY0" fmla="*/ 243456 h 486912"/>
              <a:gd name="connsiteX1" fmla="*/ 243456 w 486912"/>
              <a:gd name="connsiteY1" fmla="*/ 486913 h 486912"/>
              <a:gd name="connsiteX2" fmla="*/ 0 w 486912"/>
              <a:gd name="connsiteY2" fmla="*/ 243456 h 486912"/>
              <a:gd name="connsiteX3" fmla="*/ 243456 w 486912"/>
              <a:gd name="connsiteY3" fmla="*/ 0 h 486912"/>
              <a:gd name="connsiteX4" fmla="*/ 486913 w 486912"/>
              <a:gd name="connsiteY4" fmla="*/ 243456 h 486912"/>
              <a:gd name="connsiteX5" fmla="*/ 243456 w 486912"/>
              <a:gd name="connsiteY5" fmla="*/ 0 h 486912"/>
              <a:gd name="connsiteX6" fmla="*/ 243456 w 486912"/>
              <a:gd name="connsiteY6" fmla="*/ 66512 h 486912"/>
              <a:gd name="connsiteX7" fmla="*/ 243456 w 486912"/>
              <a:gd name="connsiteY7" fmla="*/ 420401 h 486912"/>
              <a:gd name="connsiteX8" fmla="*/ 243456 w 486912"/>
              <a:gd name="connsiteY8" fmla="*/ 486913 h 486912"/>
              <a:gd name="connsiteX9" fmla="*/ 0 w 486912"/>
              <a:gd name="connsiteY9" fmla="*/ 243456 h 486912"/>
              <a:gd name="connsiteX10" fmla="*/ 76689 w 486912"/>
              <a:gd name="connsiteY10" fmla="*/ 243456 h 486912"/>
              <a:gd name="connsiteX11" fmla="*/ 410224 w 486912"/>
              <a:gd name="connsiteY11" fmla="*/ 243456 h 486912"/>
              <a:gd name="connsiteX12" fmla="*/ 486913 w 486912"/>
              <a:gd name="connsiteY12" fmla="*/ 243456 h 486912"/>
              <a:gd name="connsiteX13" fmla="*/ 180742 w 486912"/>
              <a:gd name="connsiteY13" fmla="*/ 174364 h 486912"/>
              <a:gd name="connsiteX14" fmla="*/ 228898 w 486912"/>
              <a:gd name="connsiteY14" fmla="*/ 255532 h 486912"/>
              <a:gd name="connsiteX15" fmla="*/ 306220 w 486912"/>
              <a:gd name="connsiteY15" fmla="*/ 300863 h 486912"/>
              <a:gd name="connsiteX16" fmla="*/ 253876 w 486912"/>
              <a:gd name="connsiteY16" fmla="*/ 214436 h 486912"/>
              <a:gd name="connsiteX17" fmla="*/ 180742 w 486912"/>
              <a:gd name="connsiteY17" fmla="*/ 174364 h 48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6912" h="486912">
                <a:moveTo>
                  <a:pt x="486913" y="243456"/>
                </a:moveTo>
                <a:cubicBezTo>
                  <a:pt x="486913" y="377893"/>
                  <a:pt x="377893" y="486913"/>
                  <a:pt x="243456" y="486913"/>
                </a:cubicBezTo>
                <a:cubicBezTo>
                  <a:pt x="109020" y="486913"/>
                  <a:pt x="0" y="377893"/>
                  <a:pt x="0" y="243456"/>
                </a:cubicBezTo>
                <a:cubicBezTo>
                  <a:pt x="0" y="109020"/>
                  <a:pt x="109020" y="0"/>
                  <a:pt x="243456" y="0"/>
                </a:cubicBezTo>
                <a:cubicBezTo>
                  <a:pt x="377893" y="0"/>
                  <a:pt x="486913" y="109020"/>
                  <a:pt x="486913" y="243456"/>
                </a:cubicBezTo>
                <a:close/>
                <a:moveTo>
                  <a:pt x="243456" y="0"/>
                </a:moveTo>
                <a:lnTo>
                  <a:pt x="243456" y="66512"/>
                </a:lnTo>
                <a:moveTo>
                  <a:pt x="243456" y="420401"/>
                </a:moveTo>
                <a:lnTo>
                  <a:pt x="243456" y="486913"/>
                </a:lnTo>
                <a:moveTo>
                  <a:pt x="0" y="243456"/>
                </a:moveTo>
                <a:lnTo>
                  <a:pt x="76689" y="243456"/>
                </a:lnTo>
                <a:moveTo>
                  <a:pt x="410224" y="243456"/>
                </a:moveTo>
                <a:lnTo>
                  <a:pt x="486913" y="243456"/>
                </a:lnTo>
                <a:moveTo>
                  <a:pt x="180742" y="174364"/>
                </a:moveTo>
                <a:lnTo>
                  <a:pt x="228898" y="255532"/>
                </a:lnTo>
                <a:lnTo>
                  <a:pt x="306220" y="300863"/>
                </a:lnTo>
                <a:lnTo>
                  <a:pt x="253876" y="214436"/>
                </a:lnTo>
                <a:lnTo>
                  <a:pt x="180742" y="174364"/>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9" name="arrow_14">
            <a:extLst>
              <a:ext uri="{FF2B5EF4-FFF2-40B4-BE49-F238E27FC236}">
                <a16:creationId xmlns:a16="http://schemas.microsoft.com/office/drawing/2014/main" id="{121E00FC-2271-6788-23AE-8E077D2ACBAB}"/>
              </a:ext>
              <a:ext uri="{C183D7F6-B498-43B3-948B-1728B52AA6E4}">
                <adec:decorative xmlns:adec="http://schemas.microsoft.com/office/drawing/2017/decorative" val="1"/>
              </a:ext>
            </a:extLst>
          </p:cNvPr>
          <p:cNvSpPr>
            <a:spLocks noChangeAspect="1" noEditPoints="1"/>
          </p:cNvSpPr>
          <p:nvPr/>
        </p:nvSpPr>
        <p:spPr bwMode="auto">
          <a:xfrm>
            <a:off x="8674927" y="2843295"/>
            <a:ext cx="362260" cy="365760"/>
          </a:xfrm>
          <a:custGeom>
            <a:avLst/>
            <a:gdLst>
              <a:gd name="T0" fmla="*/ 0 w 293"/>
              <a:gd name="T1" fmla="*/ 110 h 298"/>
              <a:gd name="T2" fmla="*/ 144 w 293"/>
              <a:gd name="T3" fmla="*/ 0 h 298"/>
              <a:gd name="T4" fmla="*/ 293 w 293"/>
              <a:gd name="T5" fmla="*/ 149 h 298"/>
              <a:gd name="T6" fmla="*/ 144 w 293"/>
              <a:gd name="T7" fmla="*/ 298 h 298"/>
              <a:gd name="T8" fmla="*/ 0 w 293"/>
              <a:gd name="T9" fmla="*/ 187 h 298"/>
              <a:gd name="T10" fmla="*/ 0 w 293"/>
              <a:gd name="T11" fmla="*/ 36 h 298"/>
              <a:gd name="T12" fmla="*/ 0 w 293"/>
              <a:gd name="T13" fmla="*/ 109 h 298"/>
              <a:gd name="T14" fmla="*/ 73 w 293"/>
              <a:gd name="T15" fmla="*/ 109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298">
                <a:moveTo>
                  <a:pt x="0" y="110"/>
                </a:moveTo>
                <a:cubicBezTo>
                  <a:pt x="17" y="46"/>
                  <a:pt x="75" y="0"/>
                  <a:pt x="144" y="0"/>
                </a:cubicBezTo>
                <a:cubicBezTo>
                  <a:pt x="226" y="0"/>
                  <a:pt x="293" y="66"/>
                  <a:pt x="293" y="149"/>
                </a:cubicBezTo>
                <a:cubicBezTo>
                  <a:pt x="293" y="231"/>
                  <a:pt x="226" y="298"/>
                  <a:pt x="144" y="298"/>
                </a:cubicBezTo>
                <a:cubicBezTo>
                  <a:pt x="75" y="298"/>
                  <a:pt x="17" y="251"/>
                  <a:pt x="0" y="187"/>
                </a:cubicBezTo>
                <a:moveTo>
                  <a:pt x="0" y="36"/>
                </a:moveTo>
                <a:cubicBezTo>
                  <a:pt x="0" y="109"/>
                  <a:pt x="0" y="109"/>
                  <a:pt x="0" y="109"/>
                </a:cubicBezTo>
                <a:cubicBezTo>
                  <a:pt x="73" y="109"/>
                  <a:pt x="73" y="109"/>
                  <a:pt x="73" y="10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5990577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Setup Development Environment</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Lab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Azure Dev Box</a:t>
            </a:r>
            <a:endParaRPr lang="en-US" dirty="0"/>
          </a:p>
        </p:txBody>
      </p:sp>
      <p:pic>
        <p:nvPicPr>
          <p:cNvPr id="3" name="Picture 2" descr="A computer screen shot of a computer&#10;&#10;Description automatically generated">
            <a:extLst>
              <a:ext uri="{FF2B5EF4-FFF2-40B4-BE49-F238E27FC236}">
                <a16:creationId xmlns:a16="http://schemas.microsoft.com/office/drawing/2014/main" id="{9E3E1130-03CE-34E4-13E9-89339B18783A}"/>
              </a:ext>
            </a:extLst>
          </p:cNvPr>
          <p:cNvPicPr>
            <a:picLocks noChangeAspect="1"/>
          </p:cNvPicPr>
          <p:nvPr/>
        </p:nvPicPr>
        <p:blipFill>
          <a:blip r:embed="rId4"/>
          <a:stretch>
            <a:fillRect/>
          </a:stretch>
        </p:blipFill>
        <p:spPr>
          <a:xfrm>
            <a:off x="1481666" y="1515916"/>
            <a:ext cx="9584267" cy="4884884"/>
          </a:xfrm>
          <a:prstGeom prst="rect">
            <a:avLst/>
          </a:prstGeom>
        </p:spPr>
      </p:pic>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s: Set up development environment</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up a development environment</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the necessary infrastructure for an Azure Dev Box</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image for your Dev Box</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 Dev Box</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rant users permissions to create and access their Dev Box</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reate </a:t>
            </a:r>
            <a:r>
              <a:rPr lang="en-US" sz="2400" dirty="0">
                <a:latin typeface="Segoe UI Semibold"/>
                <a:cs typeface="Segoe UI Semibold"/>
              </a:rPr>
              <a:t>a Dev Box definit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BC0F9E41-CD44-AFD4-0C13-9E597B9D6EA1}"/>
              </a:ext>
              <a:ext uri="{C183D7F6-B498-43B3-948B-1728B52AA6E4}">
                <adec:decorative xmlns:adec="http://schemas.microsoft.com/office/drawing/2017/decorative" val="1"/>
              </a:ext>
            </a:extLst>
          </p:cNvPr>
          <p:cNvSpPr/>
          <p:nvPr/>
        </p:nvSpPr>
        <p:spPr bwMode="auto">
          <a:xfrm>
            <a:off x="3147184" y="5229286"/>
            <a:ext cx="955002" cy="247135"/>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A screenshot of a computer&#10;&#10;Description automatically generated">
            <a:extLst>
              <a:ext uri="{FF2B5EF4-FFF2-40B4-BE49-F238E27FC236}">
                <a16:creationId xmlns:a16="http://schemas.microsoft.com/office/drawing/2014/main" id="{5D2F75E8-88EC-6C2E-781C-ABB1831CD0A8}"/>
              </a:ext>
            </a:extLst>
          </p:cNvPr>
          <p:cNvPicPr>
            <a:picLocks noChangeAspect="1"/>
          </p:cNvPicPr>
          <p:nvPr/>
        </p:nvPicPr>
        <p:blipFill>
          <a:blip r:embed="rId7"/>
          <a:stretch>
            <a:fillRect/>
          </a:stretch>
        </p:blipFill>
        <p:spPr>
          <a:xfrm>
            <a:off x="690769" y="1828092"/>
            <a:ext cx="7190960" cy="390584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3827A853-7E09-FA4E-F769-B4094AC676C4}"/>
              </a:ext>
            </a:extLst>
          </p:cNvPr>
          <p:cNvPicPr>
            <a:picLocks noChangeAspect="1"/>
          </p:cNvPicPr>
          <p:nvPr/>
        </p:nvPicPr>
        <p:blipFill>
          <a:blip r:embed="rId8"/>
          <a:stretch>
            <a:fillRect/>
          </a:stretch>
        </p:blipFill>
        <p:spPr>
          <a:xfrm>
            <a:off x="7656444" y="2728509"/>
            <a:ext cx="3836504" cy="3438504"/>
          </a:xfrm>
          <a:prstGeom prst="rect">
            <a:avLst/>
          </a:prstGeom>
        </p:spPr>
      </p:pic>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Make things secure</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5 Architecture </a:t>
            </a:r>
            <a:endParaRPr lang="en-US" dirty="0"/>
          </a:p>
        </p:txBody>
      </p:sp>
      <p:pic>
        <p:nvPicPr>
          <p:cNvPr id="4" name="Picture 3" descr="A diagram of a software application&#10;&#10;Description automatically generated">
            <a:extLst>
              <a:ext uri="{FF2B5EF4-FFF2-40B4-BE49-F238E27FC236}">
                <a16:creationId xmlns:a16="http://schemas.microsoft.com/office/drawing/2014/main" id="{542A1CF9-86F8-A65A-74A6-0A0C83D49966}"/>
              </a:ext>
            </a:extLst>
          </p:cNvPr>
          <p:cNvPicPr>
            <a:picLocks noChangeAspect="1"/>
          </p:cNvPicPr>
          <p:nvPr/>
        </p:nvPicPr>
        <p:blipFill>
          <a:blip r:embed="rId4"/>
          <a:stretch>
            <a:fillRect/>
          </a:stretch>
        </p:blipFill>
        <p:spPr>
          <a:xfrm>
            <a:off x="1744807" y="712433"/>
            <a:ext cx="7772400" cy="5433133"/>
          </a:xfrm>
          <a:prstGeom prst="rect">
            <a:avLst/>
          </a:prstGeom>
        </p:spPr>
      </p:pic>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Security &amp; Monitoring</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dd security to GitHub and monitoring to you application</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ranch Polici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Branch Policies prevent committing code directly to production without revie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841500"/>
            <a:ext cx="11018521" cy="4442049"/>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rule above protect the main branch and require review from Code Owners</a:t>
            </a:r>
          </a:p>
        </p:txBody>
      </p:sp>
      <p:pic>
        <p:nvPicPr>
          <p:cNvPr id="5" name="Picture 4" descr="A screenshot of a computer&#10;&#10;Description automatically generated">
            <a:extLst>
              <a:ext uri="{FF2B5EF4-FFF2-40B4-BE49-F238E27FC236}">
                <a16:creationId xmlns:a16="http://schemas.microsoft.com/office/drawing/2014/main" id="{D6325169-26A9-6908-E422-3A32749A0280}"/>
              </a:ext>
            </a:extLst>
          </p:cNvPr>
          <p:cNvPicPr>
            <a:picLocks noChangeAspect="1"/>
          </p:cNvPicPr>
          <p:nvPr/>
        </p:nvPicPr>
        <p:blipFill>
          <a:blip r:embed="rId4"/>
          <a:stretch>
            <a:fillRect/>
          </a:stretch>
        </p:blipFill>
        <p:spPr>
          <a:xfrm>
            <a:off x="2988727" y="1847804"/>
            <a:ext cx="6214534" cy="3855489"/>
          </a:xfrm>
          <a:prstGeom prst="rect">
            <a:avLst/>
          </a:prstGeom>
        </p:spPr>
      </p:pic>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4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1540684-ea2d-4a27-830a-4d952ca2852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F0C2632E785AB4A893834F8F4762791" ma:contentTypeVersion="14" ma:contentTypeDescription="Create a new document." ma:contentTypeScope="" ma:versionID="954e8db0c5436bac6aa5bc310b6d3a9b">
  <xsd:schema xmlns:xsd="http://www.w3.org/2001/XMLSchema" xmlns:xs="http://www.w3.org/2001/XMLSchema" xmlns:p="http://schemas.microsoft.com/office/2006/metadata/properties" xmlns:ns2="a1540684-ea2d-4a27-830a-4d952ca28523" targetNamespace="http://schemas.microsoft.com/office/2006/metadata/properties" ma:root="true" ma:fieldsID="f7048da701b84eb18f4937c469a7045f" ns2:_="">
    <xsd:import namespace="a1540684-ea2d-4a27-830a-4d952ca2852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lcf76f155ced4ddcb4097134ff3c332f"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540684-ea2d-4a27-830a-4d952ca285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d7f3d94c-434f-4ca9-866e-8f7b2584d5fd" ma:termSetId="09814cd3-568e-fe90-9814-8d621ff8fb84" ma:anchorId="fba54fb3-c3e1-fe81-a776-ca4b69148c4d" ma:open="true" ma:isKeyword="false">
      <xsd:complexType>
        <xsd:sequence>
          <xsd:element ref="pc:Terms" minOccurs="0" maxOccurs="1"/>
        </xsd:sequence>
      </xsd:complex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18CB13-5261-4662-9157-46F1E58CB47D}">
  <ds:schemaRefs>
    <ds:schemaRef ds:uri="http://schemas.openxmlformats.org/package/2006/metadata/core-properties"/>
    <ds:schemaRef ds:uri="http://purl.org/dc/terms/"/>
    <ds:schemaRef ds:uri="http://schemas.microsoft.com/office/2006/documentManagement/types"/>
    <ds:schemaRef ds:uri="http://purl.org/dc/dcmitype/"/>
    <ds:schemaRef ds:uri="http://schemas.microsoft.com/office/infopath/2007/PartnerControls"/>
    <ds:schemaRef ds:uri="a1540684-ea2d-4a27-830a-4d952ca28523"/>
    <ds:schemaRef ds:uri="http://schemas.microsoft.com/office/2006/metadata/properties"/>
    <ds:schemaRef ds:uri="http://www.w3.org/XML/1998/namespace"/>
    <ds:schemaRef ds:uri="http://purl.org/dc/elements/1.1/"/>
  </ds:schemaRefs>
</ds:datastoreItem>
</file>

<file path=customXml/itemProps2.xml><?xml version="1.0" encoding="utf-8"?>
<ds:datastoreItem xmlns:ds="http://schemas.openxmlformats.org/officeDocument/2006/customXml" ds:itemID="{3D060DA9-7438-4044-9692-DA2860545D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540684-ea2d-4a27-830a-4d952ca285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954FF2-24C6-4C72-87DF-4259AE2BB726}">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657</Words>
  <Application>Microsoft Macintosh PowerPoint</Application>
  <PresentationFormat>Widescreen</PresentationFormat>
  <Paragraphs>271</Paragraphs>
  <Slides>19</Slides>
  <Notes>19</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7" baseType="lpstr">
      <vt:lpstr>-apple-system</vt:lpstr>
      <vt:lpstr>adobe-clean</vt:lpstr>
      <vt:lpstr>Arial</vt:lpstr>
      <vt:lpstr>Calibri</vt:lpstr>
      <vt:lpstr>Calibri Light</vt:lpstr>
      <vt:lpstr>Courier New</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DevOps practices to accelerate developer productivity</vt:lpstr>
      <vt:lpstr>Setup Development Environment</vt:lpstr>
      <vt:lpstr>Lab 1 Architecture </vt:lpstr>
      <vt:lpstr>Introductions: Set up development environment</vt:lpstr>
      <vt:lpstr>Create a Dev Box definition</vt:lpstr>
      <vt:lpstr>Make things secure</vt:lpstr>
      <vt:lpstr>Lab 5 Architecture </vt:lpstr>
      <vt:lpstr>Introductions: Security &amp; Monitoring</vt:lpstr>
      <vt:lpstr>Branch Policies</vt:lpstr>
      <vt:lpstr>Setup a security policy for a GitHub Repo</vt:lpstr>
      <vt:lpstr>Code security and analysis</vt:lpstr>
      <vt:lpstr>Monitor the Application</vt:lpstr>
      <vt:lpstr>Secure MySQL database and Key Vault using a VNet and Private Endpoint</vt:lpstr>
      <vt:lpstr>Lab 9 Architecture </vt:lpstr>
      <vt:lpstr>Introduction: Secure MySQL database and Key Vault using a  Private Endpoint</vt:lpstr>
      <vt:lpstr>Lock down the Azure Database for MySQL Flexible Server instance by redeploying it in a subnet</vt:lpstr>
      <vt:lpstr>Recreate the service connections to the new MySQL Flexible Server instance</vt:lpstr>
      <vt:lpstr>Secure Key Vault with a Private Endpoint</vt:lpstr>
      <vt:lpstr>Test the configur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Ia Java application migration to Azure Spring Apps</dc:title>
  <dc:creator/>
  <cp:lastModifiedBy/>
  <cp:revision>40</cp:revision>
  <dcterms:created xsi:type="dcterms:W3CDTF">2023-09-07T21:02:00Z</dcterms:created>
  <dcterms:modified xsi:type="dcterms:W3CDTF">2023-10-20T04:0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5F0C2632E785AB4A893834F8F4762791</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